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20"/>
  </p:notesMasterIdLst>
  <p:handoutMasterIdLst>
    <p:handoutMasterId r:id="rId21"/>
  </p:handoutMasterIdLst>
  <p:sldIdLst>
    <p:sldId id="735" r:id="rId7"/>
    <p:sldId id="743" r:id="rId8"/>
    <p:sldId id="791" r:id="rId9"/>
    <p:sldId id="786" r:id="rId10"/>
    <p:sldId id="787" r:id="rId11"/>
    <p:sldId id="790" r:id="rId12"/>
    <p:sldId id="793" r:id="rId13"/>
    <p:sldId id="788" r:id="rId14"/>
    <p:sldId id="797" r:id="rId15"/>
    <p:sldId id="771" r:id="rId16"/>
    <p:sldId id="796" r:id="rId17"/>
    <p:sldId id="794" r:id="rId18"/>
    <p:sldId id="775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Martynenko" initials="AM" lastIdx="7" clrIdx="0">
    <p:extLst/>
  </p:cmAuthor>
  <p:cmAuthor id="2" name="Irina Dogadina" initials="ID" lastIdx="1" clrIdx="1">
    <p:extLst>
      <p:ext uri="{19B8F6BF-5375-455C-9EA6-DF929625EA0E}">
        <p15:presenceInfo xmlns:p15="http://schemas.microsoft.com/office/powerpoint/2012/main" userId="Irina Dogadin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FFFFF"/>
    <a:srgbClr val="EEBC7F"/>
    <a:srgbClr val="D4D4D4"/>
    <a:srgbClr val="F7DDBF"/>
    <a:srgbClr val="FBFBFB"/>
    <a:srgbClr val="008E22"/>
    <a:srgbClr val="797600"/>
    <a:srgbClr val="BFBD00"/>
    <a:srgbClr val="004A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07" autoAdjust="0"/>
    <p:restoredTop sz="94651" autoAdjust="0"/>
  </p:normalViewPr>
  <p:slideViewPr>
    <p:cSldViewPr snapToGrid="0" showGuides="1">
      <p:cViewPr varScale="1">
        <p:scale>
          <a:sx n="98" d="100"/>
          <a:sy n="98" d="100"/>
        </p:scale>
        <p:origin x="330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783882783882783"/>
          <c:y val="0.10915492957746478"/>
          <c:w val="0.54432234432234428"/>
          <c:h val="0.81514084507042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E93C-49F6-8FB5-594006E262FA}"/>
              </c:ext>
            </c:extLst>
          </c:dPt>
          <c:dLbls>
            <c:dLbl>
              <c:idx val="0"/>
              <c:layout>
                <c:manualLayout>
                  <c:x val="0"/>
                  <c:y val="-0.18720657276995306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515,9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E93C-49F6-8FB5-594006E262F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4072769953051644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 074,2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93C-49F6-8FB5-594006E262F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61.91899999999998</c:v>
                </c:pt>
                <c:pt idx="1">
                  <c:v>960.111999999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93C-49F6-8FB5-594006E262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7923056"/>
        <c:axId val="398351960"/>
      </c:barChart>
      <c:catAx>
        <c:axId val="397923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98351960"/>
        <c:crosses val="min"/>
        <c:auto val="0"/>
        <c:lblAlgn val="ctr"/>
        <c:lblOffset val="100"/>
        <c:noMultiLvlLbl val="0"/>
      </c:catAx>
      <c:valAx>
        <c:axId val="398351960"/>
        <c:scaling>
          <c:orientation val="minMax"/>
          <c:max val="960.111999999999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979230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231213872832371"/>
          <c:y val="6.1959654178674349E-2"/>
          <c:w val="0.59421965317919079"/>
          <c:h val="0.876080691642651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6061479346781938E-4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defRPr>
                    </a:pPr>
                    <a:r>
                      <a:rPr lang="en-US" dirty="0" smtClean="0"/>
                      <a:t>30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8BD-4F75-888A-2B4709EB54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1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8BD-4F75-888A-2B4709EB5451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6061479346781938E-4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defRPr>
                    </a:pPr>
                    <a:r>
                      <a:rPr lang="en-US" dirty="0" smtClean="0"/>
                      <a:t>68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8BD-4F75-888A-2B4709EB54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63.80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8BD-4F75-888A-2B4709EB54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7582176"/>
        <c:axId val="517581000"/>
      </c:barChart>
      <c:catAx>
        <c:axId val="517582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7581000"/>
        <c:crosses val="min"/>
        <c:auto val="0"/>
        <c:lblAlgn val="ctr"/>
        <c:lblOffset val="100"/>
        <c:noMultiLvlLbl val="0"/>
      </c:catAx>
      <c:valAx>
        <c:axId val="517581000"/>
        <c:scaling>
          <c:orientation val="minMax"/>
          <c:max val="94.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75821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0484261501210655"/>
          <c:y val="0.18883248730964466"/>
          <c:w val="0.18983050847457628"/>
          <c:h val="0.680203045685279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979695431472081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2AE-4FB9-8E8A-7AE2D8B592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#\ ##0.00;"-"#\ ##0.00</c:formatCode>
                <c:ptCount val="1"/>
                <c:pt idx="0">
                  <c:v>15868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2AE-4FB9-8E8A-7AE2D8B59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7588448"/>
        <c:axId val="517587664"/>
      </c:barChart>
      <c:catAx>
        <c:axId val="517588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7587664"/>
        <c:crosses val="min"/>
        <c:auto val="0"/>
        <c:lblAlgn val="ctr"/>
        <c:lblOffset val="100"/>
        <c:noMultiLvlLbl val="0"/>
      </c:catAx>
      <c:valAx>
        <c:axId val="517587664"/>
        <c:scaling>
          <c:orientation val="minMax"/>
          <c:max val="15046.4"/>
          <c:min val="0"/>
        </c:scaling>
        <c:delete val="1"/>
        <c:axPos val="l"/>
        <c:numFmt formatCode="#\ ##0.00;&quot;-&quot;#\ ##0.00" sourceLinked="1"/>
        <c:majorTickMark val="out"/>
        <c:minorTickMark val="none"/>
        <c:tickLblPos val="nextTo"/>
        <c:crossAx val="5175884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5531135531135533"/>
          <c:y val="0.17613636363636365"/>
          <c:w val="0.28864468864468862"/>
          <c:h val="0.701704545454545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435606060606061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558,3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CF4B-4515-B6DF-BA52D4900CF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#\ ##0.0;"-"#\ ##0.0</c:formatCode>
                <c:ptCount val="1"/>
                <c:pt idx="0">
                  <c:v>598.192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F4B-4515-B6DF-BA52D4900C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7581392"/>
        <c:axId val="517583744"/>
      </c:barChart>
      <c:catAx>
        <c:axId val="517581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7583744"/>
        <c:crosses val="min"/>
        <c:auto val="0"/>
        <c:lblAlgn val="ctr"/>
        <c:lblOffset val="100"/>
        <c:noMultiLvlLbl val="0"/>
      </c:catAx>
      <c:valAx>
        <c:axId val="517583744"/>
        <c:scaling>
          <c:orientation val="minMax"/>
          <c:max val="598.19299999999998"/>
          <c:min val="0"/>
        </c:scaling>
        <c:delete val="1"/>
        <c:axPos val="l"/>
        <c:numFmt formatCode="#\ ##0.0;&quot;-&quot;#\ ##0.0" sourceLinked="1"/>
        <c:majorTickMark val="out"/>
        <c:minorTickMark val="none"/>
        <c:tickLblPos val="nextTo"/>
        <c:crossAx val="517581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278820375335121"/>
          <c:y val="0.19766206163655686"/>
          <c:w val="0.35442359249329758"/>
          <c:h val="0.665249734325185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36344314558979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FBF1-4585-9F38-D3E41F61F57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9744952036255765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8 768,14</a:t>
                    </a:r>
                    <a:endParaRPr lang="en-US" dirty="0"/>
                  </a:p>
                </c:rich>
              </c:tx>
              <c:numFmt formatCode="0.00;&quot;-&quot;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BF1-4585-9F38-D3E41F61F57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6527611149840848"/>
                      <c:h val="0.10495247811342326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0.00;"-"0.00</c:formatCode>
                <c:ptCount val="2"/>
                <c:pt idx="0" formatCode="#\ ##0.00;&quot;-&quot;#\ ##0.00">
                  <c:v>6832.24</c:v>
                </c:pt>
                <c:pt idx="1">
                  <c:v>8768.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B83-43E3-AD09-5E027A642D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7586096"/>
        <c:axId val="517586488"/>
      </c:barChart>
      <c:catAx>
        <c:axId val="517586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7586488"/>
        <c:crosses val="min"/>
        <c:auto val="0"/>
        <c:lblAlgn val="ctr"/>
        <c:lblOffset val="100"/>
        <c:noMultiLvlLbl val="0"/>
      </c:catAx>
      <c:valAx>
        <c:axId val="517586488"/>
        <c:scaling>
          <c:orientation val="minMax"/>
          <c:max val="5774.24"/>
          <c:min val="0"/>
        </c:scaling>
        <c:delete val="1"/>
        <c:axPos val="l"/>
        <c:numFmt formatCode="#\ ##0.00;&quot;-&quot;#\ ##0.00" sourceLinked="1"/>
        <c:majorTickMark val="out"/>
        <c:minorTickMark val="none"/>
        <c:tickLblPos val="nextTo"/>
        <c:crossAx val="5175860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399781540142E-2"/>
          <c:y val="9.8049551924090664E-2"/>
          <c:w val="0.943200436919716"/>
          <c:h val="0.8339483394833948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7021613073273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159-4F0D-AF77-1B4506B9FF1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2788613600421718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97 877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E159-4F0D-AF77-1B4506B9FF1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32854.1</c:v>
                </c:pt>
                <c:pt idx="1">
                  <c:v>94888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159-4F0D-AF77-1B4506B9FF18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06273062730627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E159-4F0D-AF77-1B4506B9FF1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23036373220875067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67 693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E159-4F0D-AF77-1B4506B9FF1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88101.3</c:v>
                </c:pt>
                <c:pt idx="1">
                  <c:v>638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E159-4F0D-AF77-1B4506B9FF18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70795993674222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E159-4F0D-AF77-1B4506B9FF1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1275698471270427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30 184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E159-4F0D-AF77-1B4506B9FF1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44752.800000000003</c:v>
                </c:pt>
                <c:pt idx="1">
                  <c:v>31078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159-4F0D-AF77-1B4506B9F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17582568"/>
        <c:axId val="517585312"/>
      </c:barChart>
      <c:catAx>
        <c:axId val="5175825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7585312"/>
        <c:crosses val="min"/>
        <c:auto val="0"/>
        <c:lblAlgn val="ctr"/>
        <c:lblOffset val="100"/>
        <c:noMultiLvlLbl val="0"/>
      </c:catAx>
      <c:valAx>
        <c:axId val="517585312"/>
        <c:scaling>
          <c:orientation val="minMax"/>
          <c:max val="132854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75825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79215930304917E-2"/>
          <c:y val="0.13478260869565217"/>
          <c:w val="0.96764156813939017"/>
          <c:h val="0.771739130434782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46C0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4347826086956523"/>
                </c:manualLayout>
              </c:layout>
              <c:numFmt formatCode="0.00;&quot;-&quot;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673-4565-9230-F92712976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594202898550724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673-4565-9230-F92712976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0.4181159420289855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7543</a:t>
                    </a:r>
                    <a:endParaRPr lang="en-US" dirty="0"/>
                  </a:p>
                </c:rich>
              </c:tx>
              <c:numFmt formatCode="0;&quot;-&quot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6673-4565-9230-F92712976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0.42028985507246375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8630</a:t>
                    </a:r>
                    <a:endParaRPr lang="en-US" dirty="0"/>
                  </a:p>
                </c:rich>
              </c:tx>
              <c:numFmt formatCode="0;&quot;-&quot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673-4565-9230-F92712976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"/>
                  <c:y val="-0.42753623188405798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8745</a:t>
                    </a:r>
                    <a:endParaRPr lang="en-US" dirty="0"/>
                  </a:p>
                </c:rich>
              </c:tx>
              <c:numFmt formatCode="0;&quot;-&quot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6673-4565-9230-F92712976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475.16</c:v>
                </c:pt>
                <c:pt idx="1">
                  <c:v>5774</c:v>
                </c:pt>
                <c:pt idx="2">
                  <c:v>6832</c:v>
                </c:pt>
                <c:pt idx="3">
                  <c:v>6878</c:v>
                </c:pt>
                <c:pt idx="4">
                  <c:v>6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6673-4565-9230-F92712976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6436688"/>
        <c:axId val="516432768"/>
      </c:barChart>
      <c:catAx>
        <c:axId val="5164366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6432768"/>
        <c:crosses val="min"/>
        <c:auto val="0"/>
        <c:lblAlgn val="ctr"/>
        <c:lblOffset val="100"/>
        <c:noMultiLvlLbl val="0"/>
      </c:catAx>
      <c:valAx>
        <c:axId val="516432768"/>
        <c:scaling>
          <c:orientation val="minMax"/>
          <c:max val="69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64366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79215930304917E-2"/>
          <c:y val="0.1170547514159849"/>
          <c:w val="0.96764156813939017"/>
          <c:h val="0.801762114537444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67526746381372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F99-499D-AB6F-9D2281F72C5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480176211453744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F99-499D-AB6F-9D2281F72C5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0.3473882945248584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F99-499D-AB6F-9D2281F72C5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0.3480176211453744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F99-499D-AB6F-9D2281F72C5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"/>
                  <c:y val="-0.390811831340465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F99-499D-AB6F-9D2281F72C5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3.5</c:v>
                </c:pt>
                <c:pt idx="1">
                  <c:v>65</c:v>
                </c:pt>
                <c:pt idx="2">
                  <c:v>64.900000000000006</c:v>
                </c:pt>
                <c:pt idx="3">
                  <c:v>65</c:v>
                </c:pt>
                <c:pt idx="4">
                  <c:v>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3F99-499D-AB6F-9D2281F72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6437080"/>
        <c:axId val="516436296"/>
      </c:barChart>
      <c:catAx>
        <c:axId val="516437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6436296"/>
        <c:crosses val="min"/>
        <c:auto val="0"/>
        <c:lblAlgn val="ctr"/>
        <c:lblOffset val="100"/>
        <c:noMultiLvlLbl val="0"/>
      </c:catAx>
      <c:valAx>
        <c:axId val="516436296"/>
        <c:scaling>
          <c:orientation val="minMax"/>
          <c:max val="83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6437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3.04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3.04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0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0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0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0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0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0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0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0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0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0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0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0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0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0297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4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4" t="18864" r="7004" b="8345"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613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3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pic>
        <p:nvPicPr>
          <p:cNvPr id="6" name="Рисунок 5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3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1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pic>
        <p:nvPicPr>
          <p:cNvPr id="6" name="Рисунок 5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797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6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555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1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37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8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pic>
        <p:nvPicPr>
          <p:cNvPr id="12" name="Рисунок 11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22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6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pic>
        <p:nvPicPr>
          <p:cNvPr id="10" name="Рисунок 9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035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4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46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7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pic>
        <p:nvPicPr>
          <p:cNvPr id="28" name="Рисунок 27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486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1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pic>
        <p:nvPicPr>
          <p:cNvPr id="13" name="Рисунок 12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73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2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4" t="18864" r="7004" b="8345"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2982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0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14" b="8277"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087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043575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851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6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pic>
        <p:nvPicPr>
          <p:cNvPr id="6" name="Рисунок 5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851832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3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7" t="6880" r="8976" b="40977"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5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" t="2138" r="4451" b="1171"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7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" b="35064"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0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6" t="11371" r="441" b="1661"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2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0" b="13849"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1283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93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9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pic>
        <p:nvPicPr>
          <p:cNvPr id="6" name="Рисунок 5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47519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7" name="Слайд think-cell" r:id="rId26" imgW="594" imgH="595" progId="TCLayout.ActiveDocument.1">
                  <p:embed/>
                </p:oleObj>
              </mc:Choice>
              <mc:Fallback>
                <p:oleObj name="Слайд think-cell" r:id="rId26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=""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=""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282" y="55683"/>
            <a:ext cx="1063494" cy="57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95" r:id="rId19"/>
    <p:sldLayoutId id="2147483796" r:id="rId20"/>
    <p:sldLayoutId id="2147483797" r:id="rId2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7.v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image" Target="../media/image1.emf"/><Relationship Id="rId4" Type="http://schemas.openxmlformats.org/officeDocument/2006/relationships/tags" Target="../tags/tag81.xml"/><Relationship Id="rId9" Type="http://schemas.openxmlformats.org/officeDocument/2006/relationships/oleObject" Target="../embeddings/oleObject27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tags" Target="../tags/tag86.xml"/><Relationship Id="rId21" Type="http://schemas.openxmlformats.org/officeDocument/2006/relationships/image" Target="../media/image17.emf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oleObject" Target="../embeddings/oleObject28.bin"/><Relationship Id="rId1" Type="http://schemas.openxmlformats.org/officeDocument/2006/relationships/vmlDrawing" Target="../drawings/vmlDrawing28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chart" Target="../charts/chart8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chart" Target="../charts/chart7.xml"/><Relationship Id="rId10" Type="http://schemas.openxmlformats.org/officeDocument/2006/relationships/tags" Target="../tags/tag93.xml"/><Relationship Id="rId19" Type="http://schemas.openxmlformats.org/officeDocument/2006/relationships/slideLayout" Target="../slideLayouts/slideLayout8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41.xml"/><Relationship Id="rId7" Type="http://schemas.openxmlformats.org/officeDocument/2006/relationships/image" Target="../media/image12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4.xml"/><Relationship Id="rId9" Type="http://schemas.openxmlformats.org/officeDocument/2006/relationships/image" Target="../media/image15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9" Type="http://schemas.openxmlformats.org/officeDocument/2006/relationships/chart" Target="../charts/chart2.xml"/><Relationship Id="rId3" Type="http://schemas.openxmlformats.org/officeDocument/2006/relationships/tags" Target="../tags/tag47.xml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42" Type="http://schemas.openxmlformats.org/officeDocument/2006/relationships/chart" Target="../charts/chart5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chart" Target="../charts/chart1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29" Type="http://schemas.openxmlformats.org/officeDocument/2006/relationships/tags" Target="../tags/tag73.xml"/><Relationship Id="rId41" Type="http://schemas.openxmlformats.org/officeDocument/2006/relationships/chart" Target="../charts/chart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image" Target="../media/image17.emf"/><Relationship Id="rId40" Type="http://schemas.openxmlformats.org/officeDocument/2006/relationships/chart" Target="../charts/chart3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oleObject" Target="../embeddings/oleObject26.bin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slideLayout" Target="../slideLayouts/slideLayout9.xml"/><Relationship Id="rId43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 txBox="1">
            <a:spLocks/>
          </p:cNvSpPr>
          <p:nvPr/>
        </p:nvSpPr>
        <p:spPr>
          <a:xfrm>
            <a:off x="475433" y="1525588"/>
            <a:ext cx="7311405" cy="339044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91586" indent="0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None/>
              <a:defRPr sz="153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83171" indent="0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None/>
              <a:defRPr sz="1275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74756" indent="0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None/>
              <a:defRPr sz="1148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66341" indent="0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None/>
              <a:defRPr sz="1148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60371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95303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8688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78472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ea typeface="Verdana" panose="020B0604030504040204" pitchFamily="34" charset="0"/>
              </a:rPr>
              <a:t>Отчет по итогам 2025 года об исполнении утвержденной тарифной </a:t>
            </a:r>
            <a:r>
              <a:rPr lang="ru-RU" dirty="0">
                <a:ea typeface="Verdana" panose="020B0604030504040204" pitchFamily="34" charset="0"/>
              </a:rPr>
              <a:t>сметы и инвестиционной программы, </a:t>
            </a:r>
            <a:r>
              <a:rPr lang="ru-RU" dirty="0" smtClean="0">
                <a:ea typeface="Verdana" panose="020B0604030504040204" pitchFamily="34" charset="0"/>
              </a:rPr>
              <a:t>о соблюдении показателей качества и надежности регулируемых услуг и достижений показателей эффективности деятельности перед потребителями и иными заинтересованными лицами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2000" b="1" dirty="0" smtClean="0">
                <a:ea typeface="Verdana" panose="020B0604030504040204" pitchFamily="34" charset="0"/>
              </a:rPr>
              <a:t>  </a:t>
            </a:r>
          </a:p>
          <a:p>
            <a:r>
              <a:rPr lang="ru-RU" sz="2000" b="1" dirty="0" smtClean="0">
                <a:ea typeface="Verdana" panose="020B0604030504040204" pitchFamily="34" charset="0"/>
              </a:rPr>
              <a:t>  АО </a:t>
            </a:r>
            <a:r>
              <a:rPr lang="ru-RU" sz="2000" b="1" dirty="0">
                <a:ea typeface="Verdana" panose="020B0604030504040204" pitchFamily="34" charset="0"/>
              </a:rPr>
              <a:t>«Качары руда»</a:t>
            </a:r>
            <a:r>
              <a:rPr lang="ru-RU" sz="2000" dirty="0">
                <a:ea typeface="Verdana" panose="020B0604030504040204" pitchFamily="34" charset="0"/>
              </a:rPr>
              <a:t>, </a:t>
            </a:r>
            <a:r>
              <a:rPr lang="ru-RU" dirty="0" smtClean="0">
                <a:ea typeface="Verdana" panose="020B0604030504040204" pitchFamily="34" charset="0"/>
              </a:rPr>
              <a:t>22 </a:t>
            </a:r>
            <a:r>
              <a:rPr lang="ru-RU" dirty="0">
                <a:ea typeface="Verdana" panose="020B0604030504040204" pitchFamily="34" charset="0"/>
              </a:rPr>
              <a:t>апреля </a:t>
            </a:r>
            <a:r>
              <a:rPr lang="ru-RU" dirty="0" smtClean="0">
                <a:ea typeface="Verdana" panose="020B0604030504040204" pitchFamily="34" charset="0"/>
              </a:rPr>
              <a:t>2026 </a:t>
            </a:r>
            <a:r>
              <a:rPr lang="ru-RU" dirty="0">
                <a:ea typeface="Verdana" panose="020B0604030504040204" pitchFamily="34" charset="0"/>
              </a:rPr>
              <a:t>года</a:t>
            </a:r>
            <a:endParaRPr lang="en-US" dirty="0"/>
          </a:p>
          <a:p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4458" y="133354"/>
            <a:ext cx="2231329" cy="93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56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29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60" name="Слайд think-cell" r:id="rId9" imgW="594" imgH="595" progId="TCLayout.ActiveDocument.1">
                  <p:embed/>
                </p:oleObj>
              </mc:Choice>
              <mc:Fallback>
                <p:oleObj name="Слайд think-cell" r:id="rId9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4" y="76200"/>
            <a:ext cx="10582275" cy="615631"/>
          </a:xfrm>
        </p:spPr>
        <p:txBody>
          <a:bodyPr vert="horz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Информация о </a:t>
            </a:r>
            <a:r>
              <a:rPr lang="ru-RU" dirty="0"/>
              <a:t>проводимой работе с потребителями регулируемых услуг</a:t>
            </a:r>
            <a:endParaRPr lang="ru-RU" alt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270939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Текст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063038" y="5491163"/>
            <a:ext cx="3571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spcBef>
                <a:spcPct val="0"/>
              </a:spcBef>
              <a:buNone/>
            </a:pPr>
            <a:fld id="{E4EB9935-EA76-4AAD-B895-2E30B06EEF65}" type="datetime'''1''''''''''''''''''''''''''0''''''''''''''''''0%'''''''''">
              <a:rPr lang="ru-RU" altLang="en-US" sz="1000" smtClean="0">
                <a:solidFill>
                  <a:schemeClr val="bg1"/>
                </a:solidFill>
                <a:cs typeface="+mn-cs"/>
              </a:rPr>
              <a:pPr/>
              <a:t>100%</a:t>
            </a:fld>
            <a:endParaRPr lang="ru-RU" sz="1000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23900" y="5593069"/>
            <a:ext cx="111902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E7D11"/>
              </a:buClr>
            </a:pP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Отопительный период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202</a:t>
            </a:r>
            <a:r>
              <a:rPr lang="en-US" sz="1400" dirty="0" smtClean="0">
                <a:solidFill>
                  <a:prstClr val="black"/>
                </a:solidFill>
                <a:cs typeface="Times New Roman" pitchFamily="18" charset="0"/>
              </a:rPr>
              <a:t>5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 года 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прошел </a:t>
            </a:r>
            <a:r>
              <a:rPr lang="ru-RU" sz="1400" b="1" dirty="0">
                <a:solidFill>
                  <a:prstClr val="black"/>
                </a:solidFill>
                <a:cs typeface="Times New Roman" pitchFamily="18" charset="0"/>
              </a:rPr>
              <a:t>без отказов оборудования и сбоев в системе 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теплоснабжения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п. </a:t>
            </a:r>
            <a:r>
              <a:rPr lang="ru-RU" sz="1400" dirty="0" err="1" smtClean="0">
                <a:solidFill>
                  <a:prstClr val="black"/>
                </a:solidFill>
                <a:cs typeface="Times New Roman" pitchFamily="18" charset="0"/>
              </a:rPr>
              <a:t>Качар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6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</a:t>
            </a:r>
            <a:r>
              <a:rPr lang="ru-RU" sz="1600" b="1" dirty="0" err="1" smtClean="0">
                <a:solidFill>
                  <a:schemeClr val="tx1"/>
                </a:solidFill>
              </a:rPr>
              <a:t>Качары</a:t>
            </a:r>
            <a:r>
              <a:rPr lang="ru-RU" sz="1600" b="1" dirty="0" smtClean="0">
                <a:solidFill>
                  <a:schemeClr val="tx1"/>
                </a:solidFill>
              </a:rPr>
              <a:t> руда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grpSp>
        <p:nvGrpSpPr>
          <p:cNvPr id="18" name="Group 492"/>
          <p:cNvGrpSpPr/>
          <p:nvPr/>
        </p:nvGrpSpPr>
        <p:grpSpPr>
          <a:xfrm>
            <a:off x="561975" y="3019425"/>
            <a:ext cx="369888" cy="369888"/>
            <a:chOff x="-2019301" y="4398964"/>
            <a:chExt cx="369888" cy="369888"/>
          </a:xfrm>
        </p:grpSpPr>
        <p:sp>
          <p:nvSpPr>
            <p:cNvPr id="19" name="Freeform 281"/>
            <p:cNvSpPr>
              <a:spLocks/>
            </p:cNvSpPr>
            <p:nvPr/>
          </p:nvSpPr>
          <p:spPr bwMode="auto">
            <a:xfrm>
              <a:off x="-1974851" y="4398964"/>
              <a:ext cx="69850" cy="63500"/>
            </a:xfrm>
            <a:custGeom>
              <a:avLst/>
              <a:gdLst>
                <a:gd name="T0" fmla="*/ 5 w 54"/>
                <a:gd name="T1" fmla="*/ 48 h 48"/>
                <a:gd name="T2" fmla="*/ 5 w 54"/>
                <a:gd name="T3" fmla="*/ 48 h 48"/>
                <a:gd name="T4" fmla="*/ 9 w 54"/>
                <a:gd name="T5" fmla="*/ 43 h 48"/>
                <a:gd name="T6" fmla="*/ 13 w 54"/>
                <a:gd name="T7" fmla="*/ 32 h 48"/>
                <a:gd name="T8" fmla="*/ 16 w 54"/>
                <a:gd name="T9" fmla="*/ 30 h 48"/>
                <a:gd name="T10" fmla="*/ 39 w 54"/>
                <a:gd name="T11" fmla="*/ 30 h 48"/>
                <a:gd name="T12" fmla="*/ 50 w 54"/>
                <a:gd name="T13" fmla="*/ 26 h 48"/>
                <a:gd name="T14" fmla="*/ 54 w 54"/>
                <a:gd name="T15" fmla="*/ 15 h 48"/>
                <a:gd name="T16" fmla="*/ 50 w 54"/>
                <a:gd name="T17" fmla="*/ 3 h 48"/>
                <a:gd name="T18" fmla="*/ 39 w 54"/>
                <a:gd name="T19" fmla="*/ 0 h 48"/>
                <a:gd name="T20" fmla="*/ 14 w 54"/>
                <a:gd name="T21" fmla="*/ 0 h 48"/>
                <a:gd name="T22" fmla="*/ 10 w 54"/>
                <a:gd name="T23" fmla="*/ 4 h 48"/>
                <a:gd name="T24" fmla="*/ 14 w 54"/>
                <a:gd name="T25" fmla="*/ 9 h 48"/>
                <a:gd name="T26" fmla="*/ 39 w 54"/>
                <a:gd name="T27" fmla="*/ 9 h 48"/>
                <a:gd name="T28" fmla="*/ 40 w 54"/>
                <a:gd name="T29" fmla="*/ 9 h 48"/>
                <a:gd name="T30" fmla="*/ 44 w 54"/>
                <a:gd name="T31" fmla="*/ 10 h 48"/>
                <a:gd name="T32" fmla="*/ 45 w 54"/>
                <a:gd name="T33" fmla="*/ 15 h 48"/>
                <a:gd name="T34" fmla="*/ 43 w 54"/>
                <a:gd name="T35" fmla="*/ 20 h 48"/>
                <a:gd name="T36" fmla="*/ 39 w 54"/>
                <a:gd name="T37" fmla="*/ 21 h 48"/>
                <a:gd name="T38" fmla="*/ 39 w 54"/>
                <a:gd name="T39" fmla="*/ 21 h 48"/>
                <a:gd name="T40" fmla="*/ 16 w 54"/>
                <a:gd name="T41" fmla="*/ 21 h 48"/>
                <a:gd name="T42" fmla="*/ 6 w 54"/>
                <a:gd name="T43" fmla="*/ 25 h 48"/>
                <a:gd name="T44" fmla="*/ 0 w 54"/>
                <a:gd name="T45" fmla="*/ 43 h 48"/>
                <a:gd name="T46" fmla="*/ 5 w 54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8" y="47"/>
                    <a:pt x="10" y="45"/>
                    <a:pt x="9" y="43"/>
                  </a:cubicBezTo>
                  <a:cubicBezTo>
                    <a:pt x="9" y="38"/>
                    <a:pt x="11" y="34"/>
                    <a:pt x="13" y="32"/>
                  </a:cubicBezTo>
                  <a:cubicBezTo>
                    <a:pt x="14" y="31"/>
                    <a:pt x="15" y="30"/>
                    <a:pt x="16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40" y="30"/>
                    <a:pt x="45" y="30"/>
                    <a:pt x="50" y="26"/>
                  </a:cubicBezTo>
                  <a:cubicBezTo>
                    <a:pt x="52" y="25"/>
                    <a:pt x="54" y="21"/>
                    <a:pt x="54" y="15"/>
                  </a:cubicBezTo>
                  <a:cubicBezTo>
                    <a:pt x="54" y="10"/>
                    <a:pt x="53" y="6"/>
                    <a:pt x="50" y="3"/>
                  </a:cubicBezTo>
                  <a:cubicBezTo>
                    <a:pt x="46" y="0"/>
                    <a:pt x="42" y="0"/>
                    <a:pt x="3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0" y="2"/>
                    <a:pt x="10" y="4"/>
                  </a:cubicBezTo>
                  <a:cubicBezTo>
                    <a:pt x="10" y="7"/>
                    <a:pt x="12" y="9"/>
                    <a:pt x="14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1" y="9"/>
                    <a:pt x="43" y="9"/>
                    <a:pt x="44" y="10"/>
                  </a:cubicBezTo>
                  <a:cubicBezTo>
                    <a:pt x="44" y="11"/>
                    <a:pt x="45" y="13"/>
                    <a:pt x="45" y="15"/>
                  </a:cubicBezTo>
                  <a:cubicBezTo>
                    <a:pt x="45" y="17"/>
                    <a:pt x="44" y="19"/>
                    <a:pt x="43" y="20"/>
                  </a:cubicBezTo>
                  <a:cubicBezTo>
                    <a:pt x="42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2" y="21"/>
                    <a:pt x="9" y="22"/>
                    <a:pt x="6" y="25"/>
                  </a:cubicBezTo>
                  <a:cubicBezTo>
                    <a:pt x="2" y="29"/>
                    <a:pt x="0" y="36"/>
                    <a:pt x="0" y="43"/>
                  </a:cubicBezTo>
                  <a:cubicBezTo>
                    <a:pt x="0" y="46"/>
                    <a:pt x="2" y="48"/>
                    <a:pt x="5" y="4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82"/>
            <p:cNvSpPr>
              <a:spLocks noEditPoints="1"/>
            </p:cNvSpPr>
            <p:nvPr/>
          </p:nvSpPr>
          <p:spPr bwMode="auto">
            <a:xfrm>
              <a:off x="-1987551" y="4624389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83"/>
            <p:cNvSpPr>
              <a:spLocks noEditPoints="1"/>
            </p:cNvSpPr>
            <p:nvPr/>
          </p:nvSpPr>
          <p:spPr bwMode="auto">
            <a:xfrm>
              <a:off x="-1987551" y="4689476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84"/>
            <p:cNvSpPr>
              <a:spLocks/>
            </p:cNvSpPr>
            <p:nvPr/>
          </p:nvSpPr>
          <p:spPr bwMode="auto">
            <a:xfrm>
              <a:off x="-1901826" y="4624389"/>
              <a:ext cx="44450" cy="14288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85"/>
            <p:cNvSpPr>
              <a:spLocks/>
            </p:cNvSpPr>
            <p:nvPr/>
          </p:nvSpPr>
          <p:spPr bwMode="auto">
            <a:xfrm>
              <a:off x="-1901826" y="4659314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5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86"/>
            <p:cNvSpPr>
              <a:spLocks/>
            </p:cNvSpPr>
            <p:nvPr/>
          </p:nvSpPr>
          <p:spPr bwMode="auto">
            <a:xfrm>
              <a:off x="-1901826" y="4692651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4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87"/>
            <p:cNvSpPr>
              <a:spLocks/>
            </p:cNvSpPr>
            <p:nvPr/>
          </p:nvSpPr>
          <p:spPr bwMode="auto">
            <a:xfrm>
              <a:off x="-1901826" y="4725989"/>
              <a:ext cx="44450" cy="12700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88"/>
            <p:cNvSpPr>
              <a:spLocks/>
            </p:cNvSpPr>
            <p:nvPr/>
          </p:nvSpPr>
          <p:spPr bwMode="auto">
            <a:xfrm>
              <a:off x="-1812926" y="4624389"/>
              <a:ext cx="44450" cy="14288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89"/>
            <p:cNvSpPr>
              <a:spLocks/>
            </p:cNvSpPr>
            <p:nvPr/>
          </p:nvSpPr>
          <p:spPr bwMode="auto">
            <a:xfrm>
              <a:off x="-1812926" y="4659314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5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90"/>
            <p:cNvSpPr>
              <a:spLocks/>
            </p:cNvSpPr>
            <p:nvPr/>
          </p:nvSpPr>
          <p:spPr bwMode="auto">
            <a:xfrm>
              <a:off x="-1812926" y="4692651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4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91"/>
            <p:cNvSpPr>
              <a:spLocks/>
            </p:cNvSpPr>
            <p:nvPr/>
          </p:nvSpPr>
          <p:spPr bwMode="auto">
            <a:xfrm>
              <a:off x="-1812926" y="4725989"/>
              <a:ext cx="44450" cy="12700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2"/>
            <p:cNvSpPr>
              <a:spLocks noEditPoints="1"/>
            </p:cNvSpPr>
            <p:nvPr/>
          </p:nvSpPr>
          <p:spPr bwMode="auto">
            <a:xfrm>
              <a:off x="-2019301" y="4478339"/>
              <a:ext cx="369888" cy="290513"/>
            </a:xfrm>
            <a:custGeom>
              <a:avLst/>
              <a:gdLst>
                <a:gd name="T0" fmla="*/ 277 w 284"/>
                <a:gd name="T1" fmla="*/ 62 h 223"/>
                <a:gd name="T2" fmla="*/ 215 w 284"/>
                <a:gd name="T3" fmla="*/ 67 h 223"/>
                <a:gd name="T4" fmla="*/ 209 w 284"/>
                <a:gd name="T5" fmla="*/ 62 h 223"/>
                <a:gd name="T6" fmla="*/ 189 w 284"/>
                <a:gd name="T7" fmla="*/ 76 h 223"/>
                <a:gd name="T8" fmla="*/ 206 w 284"/>
                <a:gd name="T9" fmla="*/ 74 h 223"/>
                <a:gd name="T10" fmla="*/ 206 w 284"/>
                <a:gd name="T11" fmla="*/ 214 h 223"/>
                <a:gd name="T12" fmla="*/ 147 w 284"/>
                <a:gd name="T13" fmla="*/ 99 h 223"/>
                <a:gd name="T14" fmla="*/ 176 w 284"/>
                <a:gd name="T15" fmla="*/ 82 h 223"/>
                <a:gd name="T16" fmla="*/ 147 w 284"/>
                <a:gd name="T17" fmla="*/ 88 h 223"/>
                <a:gd name="T18" fmla="*/ 145 w 284"/>
                <a:gd name="T19" fmla="*/ 63 h 223"/>
                <a:gd name="T20" fmla="*/ 120 w 284"/>
                <a:gd name="T21" fmla="*/ 71 h 223"/>
                <a:gd name="T22" fmla="*/ 73 w 284"/>
                <a:gd name="T23" fmla="*/ 91 h 223"/>
                <a:gd name="T24" fmla="*/ 59 w 284"/>
                <a:gd name="T25" fmla="*/ 33 h 223"/>
                <a:gd name="T26" fmla="*/ 70 w 284"/>
                <a:gd name="T27" fmla="*/ 28 h 223"/>
                <a:gd name="T28" fmla="*/ 65 w 284"/>
                <a:gd name="T29" fmla="*/ 0 h 223"/>
                <a:gd name="T30" fmla="*/ 9 w 284"/>
                <a:gd name="T31" fmla="*/ 5 h 223"/>
                <a:gd name="T32" fmla="*/ 14 w 284"/>
                <a:gd name="T33" fmla="*/ 33 h 223"/>
                <a:gd name="T34" fmla="*/ 20 w 284"/>
                <a:gd name="T35" fmla="*/ 91 h 223"/>
                <a:gd name="T36" fmla="*/ 0 w 284"/>
                <a:gd name="T37" fmla="*/ 96 h 223"/>
                <a:gd name="T38" fmla="*/ 5 w 284"/>
                <a:gd name="T39" fmla="*/ 223 h 223"/>
                <a:gd name="T40" fmla="*/ 142 w 284"/>
                <a:gd name="T41" fmla="*/ 223 h 223"/>
                <a:gd name="T42" fmla="*/ 279 w 284"/>
                <a:gd name="T43" fmla="*/ 223 h 223"/>
                <a:gd name="T44" fmla="*/ 284 w 284"/>
                <a:gd name="T45" fmla="*/ 67 h 223"/>
                <a:gd name="T46" fmla="*/ 18 w 284"/>
                <a:gd name="T47" fmla="*/ 10 h 223"/>
                <a:gd name="T48" fmla="*/ 61 w 284"/>
                <a:gd name="T49" fmla="*/ 23 h 223"/>
                <a:gd name="T50" fmla="*/ 25 w 284"/>
                <a:gd name="T51" fmla="*/ 23 h 223"/>
                <a:gd name="T52" fmla="*/ 18 w 284"/>
                <a:gd name="T53" fmla="*/ 10 h 223"/>
                <a:gd name="T54" fmla="*/ 49 w 284"/>
                <a:gd name="T55" fmla="*/ 33 h 223"/>
                <a:gd name="T56" fmla="*/ 30 w 284"/>
                <a:gd name="T57" fmla="*/ 91 h 223"/>
                <a:gd name="T58" fmla="*/ 10 w 284"/>
                <a:gd name="T59" fmla="*/ 101 h 223"/>
                <a:gd name="T60" fmla="*/ 69 w 284"/>
                <a:gd name="T61" fmla="*/ 214 h 223"/>
                <a:gd name="T62" fmla="*/ 10 w 284"/>
                <a:gd name="T63" fmla="*/ 101 h 223"/>
                <a:gd name="T64" fmla="*/ 137 w 284"/>
                <a:gd name="T65" fmla="*/ 74 h 223"/>
                <a:gd name="T66" fmla="*/ 137 w 284"/>
                <a:gd name="T67" fmla="*/ 214 h 223"/>
                <a:gd name="T68" fmla="*/ 79 w 284"/>
                <a:gd name="T69" fmla="*/ 99 h 223"/>
                <a:gd name="T70" fmla="*/ 215 w 284"/>
                <a:gd name="T71" fmla="*/ 214 h 223"/>
                <a:gd name="T72" fmla="*/ 274 w 284"/>
                <a:gd name="T73" fmla="*/ 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4" h="223">
                  <a:moveTo>
                    <a:pt x="282" y="63"/>
                  </a:moveTo>
                  <a:cubicBezTo>
                    <a:pt x="280" y="62"/>
                    <a:pt x="279" y="62"/>
                    <a:pt x="277" y="62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5" y="67"/>
                    <a:pt x="215" y="67"/>
                    <a:pt x="215" y="67"/>
                  </a:cubicBezTo>
                  <a:cubicBezTo>
                    <a:pt x="215" y="65"/>
                    <a:pt x="215" y="64"/>
                    <a:pt x="213" y="63"/>
                  </a:cubicBezTo>
                  <a:cubicBezTo>
                    <a:pt x="212" y="62"/>
                    <a:pt x="210" y="62"/>
                    <a:pt x="209" y="62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89" y="71"/>
                    <a:pt x="188" y="74"/>
                    <a:pt x="189" y="76"/>
                  </a:cubicBezTo>
                  <a:cubicBezTo>
                    <a:pt x="190" y="78"/>
                    <a:pt x="192" y="80"/>
                    <a:pt x="195" y="79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206" y="96"/>
                    <a:pt x="206" y="96"/>
                    <a:pt x="206" y="96"/>
                  </a:cubicBezTo>
                  <a:cubicBezTo>
                    <a:pt x="206" y="214"/>
                    <a:pt x="206" y="214"/>
                    <a:pt x="206" y="214"/>
                  </a:cubicBezTo>
                  <a:cubicBezTo>
                    <a:pt x="147" y="214"/>
                    <a:pt x="147" y="214"/>
                    <a:pt x="147" y="214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6" y="87"/>
                    <a:pt x="177" y="84"/>
                    <a:pt x="176" y="82"/>
                  </a:cubicBezTo>
                  <a:cubicBezTo>
                    <a:pt x="175" y="79"/>
                    <a:pt x="172" y="78"/>
                    <a:pt x="169" y="79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5"/>
                    <a:pt x="146" y="64"/>
                    <a:pt x="145" y="63"/>
                  </a:cubicBezTo>
                  <a:cubicBezTo>
                    <a:pt x="143" y="62"/>
                    <a:pt x="142" y="62"/>
                    <a:pt x="140" y="62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8" y="33"/>
                    <a:pt x="70" y="31"/>
                    <a:pt x="70" y="2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9" y="2"/>
                    <a:pt x="9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31"/>
                    <a:pt x="11" y="33"/>
                    <a:pt x="14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3"/>
                    <a:pt x="0" y="96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1"/>
                    <a:pt x="3" y="223"/>
                    <a:pt x="5" y="223"/>
                  </a:cubicBezTo>
                  <a:cubicBezTo>
                    <a:pt x="74" y="223"/>
                    <a:pt x="74" y="223"/>
                    <a:pt x="74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79" y="223"/>
                    <a:pt x="279" y="223"/>
                    <a:pt x="279" y="223"/>
                  </a:cubicBezTo>
                  <a:cubicBezTo>
                    <a:pt x="282" y="223"/>
                    <a:pt x="284" y="221"/>
                    <a:pt x="284" y="218"/>
                  </a:cubicBezTo>
                  <a:cubicBezTo>
                    <a:pt x="284" y="67"/>
                    <a:pt x="284" y="67"/>
                    <a:pt x="284" y="67"/>
                  </a:cubicBezTo>
                  <a:cubicBezTo>
                    <a:pt x="284" y="65"/>
                    <a:pt x="283" y="64"/>
                    <a:pt x="282" y="63"/>
                  </a:cubicBezTo>
                  <a:close/>
                  <a:moveTo>
                    <a:pt x="18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8" y="10"/>
                  </a:lnTo>
                  <a:close/>
                  <a:moveTo>
                    <a:pt x="30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30" y="91"/>
                    <a:pt x="30" y="91"/>
                    <a:pt x="30" y="91"/>
                  </a:cubicBezTo>
                  <a:lnTo>
                    <a:pt x="30" y="33"/>
                  </a:lnTo>
                  <a:close/>
                  <a:moveTo>
                    <a:pt x="10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214"/>
                    <a:pt x="69" y="214"/>
                    <a:pt x="69" y="214"/>
                  </a:cubicBezTo>
                  <a:cubicBezTo>
                    <a:pt x="10" y="214"/>
                    <a:pt x="10" y="214"/>
                    <a:pt x="10" y="214"/>
                  </a:cubicBezTo>
                  <a:lnTo>
                    <a:pt x="10" y="101"/>
                  </a:lnTo>
                  <a:close/>
                  <a:moveTo>
                    <a:pt x="79" y="99"/>
                  </a:moveTo>
                  <a:cubicBezTo>
                    <a:pt x="137" y="74"/>
                    <a:pt x="137" y="74"/>
                    <a:pt x="137" y="74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37" y="214"/>
                    <a:pt x="137" y="214"/>
                    <a:pt x="137" y="214"/>
                  </a:cubicBezTo>
                  <a:cubicBezTo>
                    <a:pt x="79" y="214"/>
                    <a:pt x="79" y="214"/>
                    <a:pt x="79" y="214"/>
                  </a:cubicBezTo>
                  <a:lnTo>
                    <a:pt x="79" y="99"/>
                  </a:lnTo>
                  <a:close/>
                  <a:moveTo>
                    <a:pt x="274" y="214"/>
                  </a:moveTo>
                  <a:cubicBezTo>
                    <a:pt x="215" y="214"/>
                    <a:pt x="215" y="214"/>
                    <a:pt x="215" y="214"/>
                  </a:cubicBezTo>
                  <a:cubicBezTo>
                    <a:pt x="215" y="99"/>
                    <a:pt x="215" y="99"/>
                    <a:pt x="215" y="99"/>
                  </a:cubicBezTo>
                  <a:cubicBezTo>
                    <a:pt x="274" y="74"/>
                    <a:pt x="274" y="74"/>
                    <a:pt x="274" y="74"/>
                  </a:cubicBezTo>
                  <a:lnTo>
                    <a:pt x="274" y="214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93"/>
            <p:cNvSpPr>
              <a:spLocks/>
            </p:cNvSpPr>
            <p:nvPr/>
          </p:nvSpPr>
          <p:spPr bwMode="auto">
            <a:xfrm>
              <a:off x="-1722438" y="4624389"/>
              <a:ext cx="44450" cy="14288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94"/>
            <p:cNvSpPr>
              <a:spLocks/>
            </p:cNvSpPr>
            <p:nvPr/>
          </p:nvSpPr>
          <p:spPr bwMode="auto">
            <a:xfrm>
              <a:off x="-1722438" y="4659314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5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5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95"/>
            <p:cNvSpPr>
              <a:spLocks/>
            </p:cNvSpPr>
            <p:nvPr/>
          </p:nvSpPr>
          <p:spPr bwMode="auto">
            <a:xfrm>
              <a:off x="-1722438" y="4692651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4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4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96"/>
            <p:cNvSpPr>
              <a:spLocks/>
            </p:cNvSpPr>
            <p:nvPr/>
          </p:nvSpPr>
          <p:spPr bwMode="auto">
            <a:xfrm>
              <a:off x="-1722438" y="4725989"/>
              <a:ext cx="44450" cy="12700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5" name="Прямоугольник 34"/>
          <p:cNvSpPr/>
          <p:nvPr/>
        </p:nvSpPr>
        <p:spPr bwMode="gray">
          <a:xfrm>
            <a:off x="4475162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 bwMode="gray">
          <a:xfrm>
            <a:off x="7213829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37" name="Группа 36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38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39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0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41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42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43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44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45" name="Rounded Rectangle 526"/>
          <p:cNvSpPr/>
          <p:nvPr/>
        </p:nvSpPr>
        <p:spPr bwMode="gray">
          <a:xfrm>
            <a:off x="4475162" y="1874838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беспечивается </a:t>
            </a:r>
            <a:r>
              <a:rPr lang="ru-RU" sz="1400" dirty="0"/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существляется в </a:t>
            </a:r>
            <a:r>
              <a:rPr lang="ru-RU" sz="1400" dirty="0"/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46" name="Rounded Rectangle 526"/>
          <p:cNvSpPr/>
          <p:nvPr/>
        </p:nvSpPr>
        <p:spPr bwMode="gray">
          <a:xfrm>
            <a:off x="7213828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/>
              <a:t>оценки проекта </a:t>
            </a:r>
            <a:endParaRPr lang="ru-RU" sz="14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92150" y="6321425"/>
            <a:ext cx="109222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2024 год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2"/>
          <p:cNvSpPr/>
          <p:nvPr>
            <p:custDataLst>
              <p:tags r:id="rId6"/>
            </p:custDataLst>
          </p:nvPr>
        </p:nvSpPr>
        <p:spPr bwMode="auto">
          <a:xfrm>
            <a:off x="166688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50" name="Rectangle 2"/>
          <p:cNvSpPr/>
          <p:nvPr>
            <p:custDataLst>
              <p:tags r:id="rId7"/>
            </p:custDataLst>
          </p:nvPr>
        </p:nvSpPr>
        <p:spPr bwMode="auto">
          <a:xfrm>
            <a:off x="166688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51" name="Соединительная линия уступом 50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оединительная линия уступом 51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stCxn id="41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Прямоугольник 53"/>
          <p:cNvSpPr/>
          <p:nvPr/>
        </p:nvSpPr>
        <p:spPr bwMode="gray">
          <a:xfrm>
            <a:off x="9390292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55" name="Rounded Rectangle 526"/>
          <p:cNvSpPr/>
          <p:nvPr/>
        </p:nvSpPr>
        <p:spPr bwMode="gray">
          <a:xfrm>
            <a:off x="9571267" y="1874838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убликация уведомлений </a:t>
            </a:r>
            <a:r>
              <a:rPr lang="ru-RU" sz="1400" dirty="0"/>
              <a:t>о времени и месте </a:t>
            </a:r>
            <a:r>
              <a:rPr lang="ru-RU" sz="1400" dirty="0" smtClean="0"/>
              <a:t>публичных </a:t>
            </a:r>
            <a:r>
              <a:rPr lang="ru-RU" sz="1400" dirty="0"/>
              <a:t>слушаний </a:t>
            </a:r>
            <a:r>
              <a:rPr lang="ru-RU" sz="1400" dirty="0" smtClean="0"/>
              <a:t>в </a:t>
            </a:r>
            <a:r>
              <a:rPr lang="ru-RU" sz="1400" dirty="0"/>
              <a:t>средствах массовой информации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в том числе на </a:t>
            </a:r>
            <a:r>
              <a:rPr lang="ru-RU" sz="1400" dirty="0" err="1" smtClean="0"/>
              <a:t>интернет-ресурсе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56" name="Group 488"/>
          <p:cNvGrpSpPr/>
          <p:nvPr/>
        </p:nvGrpSpPr>
        <p:grpSpPr>
          <a:xfrm>
            <a:off x="979488" y="3016251"/>
            <a:ext cx="371475" cy="371475"/>
            <a:chOff x="-2103438" y="3878264"/>
            <a:chExt cx="371475" cy="371475"/>
          </a:xfrm>
        </p:grpSpPr>
        <p:sp>
          <p:nvSpPr>
            <p:cNvPr id="57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3803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9194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4" name="Слайд think-cell" r:id="rId20" imgW="395" imgH="396" progId="TCLayout.ActiveDocument.1">
                  <p:embed/>
                </p:oleObj>
              </mc:Choice>
              <mc:Fallback>
                <p:oleObj name="Слайд think-cell" r:id="rId20" imgW="395" imgH="396" progId="TCLayout.ActiveDocument.1">
                  <p:embed/>
                  <p:pic>
                    <p:nvPicPr>
                      <p:cNvPr id="27" name="Объект 2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Перспективы деятельности </a:t>
            </a:r>
            <a:r>
              <a:rPr lang="ru-RU" dirty="0">
                <a:solidFill>
                  <a:srgbClr val="EE7D1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ланы развития), в том числе возможных изменениях тарифов </a:t>
            </a:r>
            <a:r>
              <a:rPr lang="ru-RU" dirty="0"/>
              <a:t>в сфере регулируемых услуг </a:t>
            </a:r>
          </a:p>
        </p:txBody>
      </p:sp>
      <p:sp>
        <p:nvSpPr>
          <p:cNvPr id="5" name="Abgerundetes Rechteck 109"/>
          <p:cNvSpPr/>
          <p:nvPr/>
        </p:nvSpPr>
        <p:spPr>
          <a:xfrm>
            <a:off x="358535" y="947991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(утвержден уполномоченным органом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6" name="Abgerundetes Rechteck 109"/>
          <p:cNvSpPr>
            <a:spLocks/>
          </p:cNvSpPr>
          <p:nvPr/>
        </p:nvSpPr>
        <p:spPr>
          <a:xfrm>
            <a:off x="314085" y="3755075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Инвестиции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утверждены 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уполномоченным органом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)</a:t>
            </a:r>
            <a:endParaRPr lang="ru-RU" sz="1200" i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7" name="Straight Connector 418"/>
          <p:cNvCxnSpPr/>
          <p:nvPr/>
        </p:nvCxnSpPr>
        <p:spPr>
          <a:xfrm>
            <a:off x="236708" y="3242449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>
            <p:custDataLst>
              <p:tags r:id="rId3"/>
            </p:custDataLst>
          </p:nvPr>
        </p:nvSpPr>
        <p:spPr bwMode="auto">
          <a:xfrm>
            <a:off x="7285404" y="849783"/>
            <a:ext cx="160339" cy="120650"/>
          </a:xfrm>
          <a:prstGeom prst="rect">
            <a:avLst/>
          </a:prstGeom>
          <a:solidFill>
            <a:srgbClr val="E46C0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4"/>
            </p:custDataLst>
          </p:nvPr>
        </p:nvSpPr>
        <p:spPr bwMode="auto">
          <a:xfrm>
            <a:off x="7573964" y="631802"/>
            <a:ext cx="558800" cy="53863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B0F457-0710-4AC8-83A9-9089DEC1C22C}" type="datetime'т''''''енг''е''''''''/''''''''''''''''Г''ка''''''''''''''л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5"/>
            </p:custDataLst>
          </p:nvPr>
        </p:nvSpPr>
        <p:spPr bwMode="auto">
          <a:xfrm>
            <a:off x="7285404" y="3525416"/>
            <a:ext cx="160339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6"/>
            </p:custDataLst>
          </p:nvPr>
        </p:nvSpPr>
        <p:spPr bwMode="auto">
          <a:xfrm>
            <a:off x="7550094" y="3509541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BEE250F-9701-4F58-82BD-FE6C14855A2D}" type="datetime'''мл''''н''.'''''''''''' ''''т''е''''''н''''г''''е'''">
              <a:rPr lang="ru-RU" altLang="en-US" sz="900" smtClean="0">
                <a:solidFill>
                  <a:schemeClr val="tx1"/>
                </a:solidFill>
                <a:latin typeface="Arial (Основной текст)"/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  <a:latin typeface="Arial (Основной текст)"/>
            </a:endParaRPr>
          </a:p>
        </p:txBody>
      </p:sp>
      <p:sp>
        <p:nvSpPr>
          <p:cNvPr id="51" name="Freeform 140"/>
          <p:cNvSpPr/>
          <p:nvPr/>
        </p:nvSpPr>
        <p:spPr>
          <a:xfrm>
            <a:off x="8372654" y="1068404"/>
            <a:ext cx="3317039" cy="4600876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 smtClean="0">
                <a:solidFill>
                  <a:schemeClr val="accent1"/>
                </a:solidFill>
              </a:rPr>
              <a:t>Выполнение</a:t>
            </a:r>
            <a:endParaRPr lang="en-US" sz="1600" dirty="0" smtClean="0">
              <a:solidFill>
                <a:schemeClr val="accent1"/>
              </a:solidFill>
            </a:endParaRPr>
          </a:p>
          <a:p>
            <a:pPr algn="r"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 smtClean="0">
                <a:solidFill>
                  <a:schemeClr val="accent1"/>
                </a:solidFill>
              </a:rPr>
              <a:t> мероприятий позволит</a:t>
            </a:r>
            <a:r>
              <a:rPr lang="ru-RU" sz="16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52" name="Rectangle 5"/>
          <p:cNvSpPr>
            <a:spLocks noChangeArrowheads="1"/>
          </p:cNvSpPr>
          <p:nvPr/>
        </p:nvSpPr>
        <p:spPr bwMode="auto">
          <a:xfrm>
            <a:off x="8477005" y="1693323"/>
            <a:ext cx="3277289" cy="3783207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 smtClean="0">
                <a:cs typeface="Arial" panose="020B0604020202020204" pitchFamily="34" charset="0"/>
              </a:rPr>
              <a:t>обеспечить</a:t>
            </a:r>
            <a:r>
              <a:rPr lang="en-US" sz="1600" kern="0" dirty="0" smtClean="0">
                <a:cs typeface="Arial" panose="020B0604020202020204" pitchFamily="34" charset="0"/>
              </a:rPr>
              <a:t> </a:t>
            </a:r>
            <a:r>
              <a:rPr lang="ru-RU" sz="1600" kern="0" dirty="0" smtClean="0">
                <a:cs typeface="Arial" panose="020B0604020202020204" pitchFamily="34" charset="0"/>
              </a:rPr>
              <a:t>бесперебойное </a:t>
            </a:r>
            <a:r>
              <a:rPr lang="ru-RU" sz="1600" kern="0" dirty="0">
                <a:cs typeface="Arial" panose="020B0604020202020204" pitchFamily="34" charset="0"/>
              </a:rPr>
              <a:t>оказание услуг по </a:t>
            </a:r>
            <a:r>
              <a:rPr lang="ru-RU" sz="1600" kern="0" dirty="0" smtClean="0"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повысить эффективность </a:t>
            </a:r>
            <a:r>
              <a:rPr lang="ru-RU" sz="1600" dirty="0"/>
              <a:t>работы </a:t>
            </a:r>
            <a:r>
              <a:rPr lang="ru-RU" sz="1600" dirty="0" smtClean="0"/>
              <a:t>оборудования и качество </a:t>
            </a:r>
            <a:r>
              <a:rPr lang="ru-RU" sz="1600" dirty="0"/>
              <a:t>предоставляемых </a:t>
            </a:r>
            <a:r>
              <a:rPr lang="ru-RU" sz="1600" dirty="0" smtClean="0"/>
              <a:t>регулируемых услуг</a:t>
            </a:r>
            <a:endParaRPr lang="ru-RU" sz="16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477005" y="1083934"/>
            <a:ext cx="719657" cy="648976"/>
          </a:xfrm>
          <a:prstGeom prst="rect">
            <a:avLst/>
          </a:prstGeom>
        </p:spPr>
      </p:pic>
      <p:graphicFrame>
        <p:nvGraphicFramePr>
          <p:cNvPr id="54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1449952"/>
              </p:ext>
            </p:extLst>
          </p:nvPr>
        </p:nvGraphicFramePr>
        <p:xfrm>
          <a:off x="2120900" y="1011238"/>
          <a:ext cx="5102225" cy="219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5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563813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E893F2-069A-4B43-AB28-C4B2BCE17EEB}" type="datetime'''''''''''''''''''''''''''2''''''''''''0''''''''''2''''3'''''">
              <a:rPr lang="ru-RU" altLang="en-US" sz="900" smtClean="0"/>
              <a:pPr/>
              <a:t>2023</a:t>
            </a:fld>
            <a:endParaRPr lang="ru-RU" sz="900" dirty="0"/>
          </a:p>
        </p:txBody>
      </p:sp>
      <p:sp>
        <p:nvSpPr>
          <p:cNvPr id="36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51238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2EAF0A-D226-4B0E-A592-2AFAA41E150B}" type="datetime'''''''''2''''''''''''''''''''0''''''2''''4'''''''''">
              <a:rPr lang="ru-RU" altLang="en-US" sz="900" smtClean="0"/>
              <a:pPr/>
              <a:t>2024</a:t>
            </a:fld>
            <a:endParaRPr lang="ru-RU" sz="900" dirty="0"/>
          </a:p>
        </p:txBody>
      </p:sp>
      <p:sp>
        <p:nvSpPr>
          <p:cNvPr id="37" name="Текст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38663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E68B77-9571-497D-BFB0-7FC2BC9A8078}" type="datetime'''''''''20''''''''''''''''''''''2''''''''5'''">
              <a:rPr lang="ru-RU" altLang="en-US" sz="900" smtClean="0"/>
              <a:pPr/>
              <a:t>2025</a:t>
            </a:fld>
            <a:endParaRPr lang="ru-RU" sz="900" dirty="0"/>
          </a:p>
        </p:txBody>
      </p:sp>
      <p:sp>
        <p:nvSpPr>
          <p:cNvPr id="40" name="Текст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26088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35A0D6-0AE3-4789-825D-F6570D6D50F5}" type="datetime'''''''''''''''''2''0''''''''''''''''''''''''''''26'''''''''">
              <a:rPr lang="ru-RU" altLang="en-US" sz="900" smtClean="0"/>
              <a:pPr/>
              <a:t>2026</a:t>
            </a:fld>
            <a:endParaRPr lang="ru-RU" sz="900" dirty="0"/>
          </a:p>
        </p:txBody>
      </p:sp>
      <p:sp>
        <p:nvSpPr>
          <p:cNvPr id="41" name="Текст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513513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8FED23-E2FD-4877-B75B-DA0CEDDF2F86}" type="datetime'''2''''''''''''''''''''''0''''''''''2''''''''''7'">
              <a:rPr lang="ru-RU" altLang="en-US" sz="900" smtClean="0"/>
              <a:pPr/>
              <a:t>2027</a:t>
            </a:fld>
            <a:endParaRPr lang="ru-RU" sz="900" dirty="0"/>
          </a:p>
        </p:txBody>
      </p:sp>
      <p:graphicFrame>
        <p:nvGraphicFramePr>
          <p:cNvPr id="42" name="Chart 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73050420"/>
              </p:ext>
            </p:extLst>
          </p:nvPr>
        </p:nvGraphicFramePr>
        <p:xfrm>
          <a:off x="2120900" y="3351213"/>
          <a:ext cx="5102225" cy="2522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07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563813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6002C8-A5F8-4948-9D32-A3A7C953EE2F}" type="datetime'''''20''''''''''''''''''''2''''''''''''''''''''''3'''''">
              <a:rPr lang="ru-RU" altLang="en-US" sz="900" smtClean="0"/>
              <a:pPr/>
              <a:t>2023</a:t>
            </a:fld>
            <a:endParaRPr lang="ru-RU" sz="900" dirty="0"/>
          </a:p>
        </p:txBody>
      </p:sp>
      <p:sp>
        <p:nvSpPr>
          <p:cNvPr id="108" name="Текст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551238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291F9C-70F5-4FEE-ACEB-BBBCC5CEA83D}" type="datetime'''''2''0''''''''''''''2''''''''''''''''''''''''''''4'''''''''">
              <a:rPr lang="ru-RU" altLang="en-US" sz="900" smtClean="0"/>
              <a:pPr/>
              <a:t>2024</a:t>
            </a:fld>
            <a:endParaRPr lang="ru-RU" sz="900" dirty="0"/>
          </a:p>
        </p:txBody>
      </p:sp>
      <p:sp>
        <p:nvSpPr>
          <p:cNvPr id="109" name="Текст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538663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00C838-F639-4B1B-9286-0B7C1BD1DBD8}" type="datetime'''''''''2''''''0''''''''''2''''''''''5'''''''''''''''''">
              <a:rPr lang="ru-RU" altLang="en-US" sz="900" smtClean="0"/>
              <a:pPr/>
              <a:t>2025</a:t>
            </a:fld>
            <a:endParaRPr lang="ru-RU" sz="900" dirty="0"/>
          </a:p>
        </p:txBody>
      </p:sp>
      <p:sp>
        <p:nvSpPr>
          <p:cNvPr id="115" name="Текст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26088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929374-AF32-4F8B-B47C-003DAD3B81CF}" type="datetime'''''2''''''''''''''0''''''2''''''6'''''''''''''''">
              <a:rPr lang="ru-RU" altLang="en-US" sz="900" smtClean="0"/>
              <a:pPr/>
              <a:t>2026</a:t>
            </a:fld>
            <a:endParaRPr lang="ru-RU" sz="900" dirty="0"/>
          </a:p>
        </p:txBody>
      </p:sp>
      <p:sp>
        <p:nvSpPr>
          <p:cNvPr id="116" name="Текст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13513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6D7E0A-6D15-48EF-B558-4439BDE44F20}" type="datetime'''''2''0''''''''''''''''''''''2''''7'''''''''''''''''''">
              <a:rPr lang="ru-RU" altLang="en-US" sz="900" smtClean="0"/>
              <a:pPr/>
              <a:t>2027</a:t>
            </a:fld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4117430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5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ГОСТы и СанПиНы: регламентируют параметры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теплоносителя, температурные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режимы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Использование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энергоэффективного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оборудования и технологий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Контроль потерь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на всех этапах доставки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ониторинг температур и давления в теплосетях и на выходе из источников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Подготовк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и сертификация специалистов, работающих на объектах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оснабжения. Аттестация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ериодическое повышение квалификации является обязательным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для ИТР,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мастеров и операторов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Качество предоставляемых услуг обеспечивается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онтроль качества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валификация персонала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Работа с потребителями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66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2400" b="1" dirty="0">
                <a:ea typeface="Verdana" panose="020B0604030504040204" pitchFamily="34" charset="0"/>
              </a:rPr>
              <a:t>АО </a:t>
            </a:r>
            <a:r>
              <a:rPr lang="ru-RU" sz="2400" b="1" dirty="0" smtClean="0">
                <a:ea typeface="Verdana" panose="020B0604030504040204" pitchFamily="34" charset="0"/>
              </a:rPr>
              <a:t>«Качары руда»</a:t>
            </a:r>
            <a:r>
              <a:rPr lang="ru-RU" sz="2400" dirty="0" smtClean="0">
                <a:ea typeface="Verdana" panose="020B0604030504040204" pitchFamily="34" charset="0"/>
              </a:rPr>
              <a:t>, </a:t>
            </a:r>
            <a:r>
              <a:rPr lang="ru-RU" sz="2000" dirty="0" smtClean="0">
                <a:ea typeface="Verdana" panose="020B0604030504040204" pitchFamily="34" charset="0"/>
              </a:rPr>
              <a:t>2</a:t>
            </a:r>
            <a:r>
              <a:rPr lang="en-US" sz="2000" dirty="0" smtClean="0">
                <a:ea typeface="Verdana" panose="020B0604030504040204" pitchFamily="34" charset="0"/>
              </a:rPr>
              <a:t>2</a:t>
            </a:r>
            <a:r>
              <a:rPr lang="ru-RU" sz="2000" dirty="0" smtClean="0">
                <a:ea typeface="Verdana" panose="020B0604030504040204" pitchFamily="34" charset="0"/>
              </a:rPr>
              <a:t> апреля 202</a:t>
            </a:r>
            <a:r>
              <a:rPr lang="en-US" sz="2000" dirty="0" smtClean="0">
                <a:ea typeface="Verdana" panose="020B0604030504040204" pitchFamily="34" charset="0"/>
              </a:rPr>
              <a:t>6</a:t>
            </a:r>
            <a:r>
              <a:rPr lang="ru-RU" sz="2000" dirty="0" smtClean="0">
                <a:ea typeface="Verdana" panose="020B0604030504040204" pitchFamily="34" charset="0"/>
              </a:rPr>
              <a:t>года</a:t>
            </a:r>
            <a:endParaRPr lang="en-US" sz="20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03783" y="2838402"/>
            <a:ext cx="5962264" cy="923973"/>
          </a:xfrm>
        </p:spPr>
        <p:txBody>
          <a:bodyPr/>
          <a:lstStyle/>
          <a:p>
            <a:r>
              <a:rPr lang="ru-RU" sz="3000" dirty="0"/>
              <a:t>Спасибо за внимание!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5364" y="164986"/>
            <a:ext cx="2231329" cy="93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591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02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9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257" y="39846"/>
            <a:ext cx="10582275" cy="704850"/>
          </a:xfrm>
        </p:spPr>
        <p:txBody>
          <a:bodyPr vert="horz"/>
          <a:lstStyle/>
          <a:p>
            <a:r>
              <a:rPr lang="ru-RU" b="1" dirty="0"/>
              <a:t>Общие </a:t>
            </a:r>
            <a:r>
              <a:rPr lang="ru-RU" b="1" dirty="0" smtClean="0"/>
              <a:t>сведения </a:t>
            </a:r>
            <a:endParaRPr lang="en-US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270939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0177" y="2833734"/>
            <a:ext cx="2782884" cy="3348879"/>
          </a:xfrm>
          <a:prstGeom prst="rect">
            <a:avLst/>
          </a:prstGeom>
        </p:spPr>
      </p:pic>
      <p:sp>
        <p:nvSpPr>
          <p:cNvPr id="35" name="Content Placeholder 2"/>
          <p:cNvSpPr txBox="1">
            <a:spLocks/>
          </p:cNvSpPr>
          <p:nvPr/>
        </p:nvSpPr>
        <p:spPr>
          <a:xfrm>
            <a:off x="144379" y="919261"/>
            <a:ext cx="6142127" cy="2488082"/>
          </a:xfrm>
          <a:prstGeom prst="rect">
            <a:avLst/>
          </a:prstGeom>
        </p:spPr>
        <p:txBody>
          <a:bodyPr>
            <a:noAutofit/>
          </a:bodyPr>
          <a:lstStyle>
            <a:lvl1pPr marL="145792" indent="-145792" algn="l" defTabSz="583170" rtl="0" eaLnBrk="1" latinLnBrk="0" hangingPunct="1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Char char="•"/>
              <a:defRPr sz="17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737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8963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054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2133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371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95303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8688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78472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20000"/>
              </a:lnSpc>
              <a:spcBef>
                <a:spcPts val="600"/>
              </a:spcBef>
              <a:buNone/>
            </a:pPr>
            <a:r>
              <a:rPr lang="ru-RU" sz="1600" dirty="0" smtClean="0"/>
              <a:t>АО «Качары руда» предприятие горнорудной промышленности Казахстана.</a:t>
            </a:r>
          </a:p>
          <a:p>
            <a:pPr marL="0" indent="625475" algn="just">
              <a:lnSpc>
                <a:spcPct val="120000"/>
              </a:lnSpc>
              <a:spcBef>
                <a:spcPts val="600"/>
              </a:spcBef>
              <a:buNone/>
            </a:pPr>
            <a:r>
              <a:rPr lang="ru-RU" sz="1600" dirty="0" smtClean="0"/>
              <a:t>АО </a:t>
            </a:r>
            <a:r>
              <a:rPr lang="ru-RU" sz="1600" dirty="0"/>
              <a:t>«Качары руда» включено в местный раздел Государственного регистра субъектов естественных монополий по Костанайской области по виду деятельности:  </a:t>
            </a:r>
            <a:r>
              <a:rPr lang="ru-RU" sz="1600" b="1" dirty="0"/>
              <a:t>услуги по производству тепловой </a:t>
            </a:r>
            <a:r>
              <a:rPr lang="ru-RU" sz="1600" b="1" dirty="0" smtClean="0"/>
              <a:t>энергией </a:t>
            </a:r>
            <a:r>
              <a:rPr lang="ru-RU" sz="1100" i="1" dirty="0" smtClean="0"/>
              <a:t>(Свидетельство </a:t>
            </a:r>
            <a:r>
              <a:rPr lang="ru-RU" sz="1100" i="1" dirty="0"/>
              <a:t>о включении в Государственный регистр субъектов естественной монополии от 28 января 2021 года №KZ18VFF00002704</a:t>
            </a:r>
            <a:r>
              <a:rPr lang="ru-RU" sz="1100" i="1" dirty="0" smtClean="0"/>
              <a:t>)</a:t>
            </a:r>
            <a:r>
              <a:rPr lang="ru-RU" sz="1600" dirty="0" smtClean="0"/>
              <a:t>   </a:t>
            </a:r>
          </a:p>
          <a:p>
            <a:pPr marL="0" indent="0" algn="just">
              <a:lnSpc>
                <a:spcPct val="120000"/>
              </a:lnSpc>
              <a:spcBef>
                <a:spcPts val="600"/>
              </a:spcBef>
              <a:buNone/>
            </a:pPr>
            <a:endParaRPr lang="ru-RU" sz="1600" dirty="0" smtClean="0"/>
          </a:p>
        </p:txBody>
      </p:sp>
      <p:grpSp>
        <p:nvGrpSpPr>
          <p:cNvPr id="11" name="Group 488"/>
          <p:cNvGrpSpPr/>
          <p:nvPr/>
        </p:nvGrpSpPr>
        <p:grpSpPr>
          <a:xfrm>
            <a:off x="282588" y="1528954"/>
            <a:ext cx="371475" cy="371475"/>
            <a:chOff x="-2103438" y="3878264"/>
            <a:chExt cx="371475" cy="371475"/>
          </a:xfrm>
        </p:grpSpPr>
        <p:sp>
          <p:nvSpPr>
            <p:cNvPr id="1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236487" y="5445836"/>
            <a:ext cx="6050020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АО «</a:t>
            </a:r>
            <a:r>
              <a:rPr lang="ru-RU" sz="1600" dirty="0" err="1"/>
              <a:t>Качары</a:t>
            </a:r>
            <a:r>
              <a:rPr lang="ru-RU" sz="1600" dirty="0"/>
              <a:t> руда» оказывает услуги по производству тепловой энергии по тарифу, утвержденному уполномоченным органом в соответствии с законодательством о естественных </a:t>
            </a:r>
            <a:r>
              <a:rPr lang="ru-RU" sz="1600" dirty="0" smtClean="0"/>
              <a:t>монополиях</a:t>
            </a:r>
            <a:endParaRPr lang="ru-RU" sz="1600" dirty="0"/>
          </a:p>
        </p:txBody>
      </p:sp>
      <p:sp>
        <p:nvSpPr>
          <p:cNvPr id="23" name="TextBox 22"/>
          <p:cNvSpPr txBox="1"/>
          <p:nvPr/>
        </p:nvSpPr>
        <p:spPr>
          <a:xfrm>
            <a:off x="217236" y="3490014"/>
            <a:ext cx="6069270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 algn="just"/>
            <a:r>
              <a:rPr lang="en-US" sz="1600" dirty="0" smtClean="0"/>
              <a:t>C</a:t>
            </a:r>
            <a:r>
              <a:rPr lang="ru-RU" sz="1600" dirty="0" err="1" smtClean="0"/>
              <a:t>труктурное</a:t>
            </a:r>
            <a:r>
              <a:rPr lang="ru-RU" sz="1600" dirty="0" smtClean="0"/>
              <a:t> подразделение </a:t>
            </a:r>
            <a:r>
              <a:rPr lang="ru-RU" sz="1600" dirty="0"/>
              <a:t>АО «</a:t>
            </a:r>
            <a:r>
              <a:rPr lang="ru-RU" sz="1600" dirty="0" err="1"/>
              <a:t>Качары</a:t>
            </a:r>
            <a:r>
              <a:rPr lang="ru-RU" sz="1600" dirty="0"/>
              <a:t> руда</a:t>
            </a:r>
            <a:r>
              <a:rPr lang="ru-RU" sz="1600" dirty="0" smtClean="0"/>
              <a:t>», оказывающее </a:t>
            </a:r>
            <a:r>
              <a:rPr lang="ru-RU" sz="1600" dirty="0"/>
              <a:t>услуги по производству тепловой энергии п. </a:t>
            </a:r>
            <a:r>
              <a:rPr lang="ru-RU" sz="1600" dirty="0" err="1"/>
              <a:t>Качар</a:t>
            </a:r>
            <a:r>
              <a:rPr lang="en-US" sz="1600" dirty="0"/>
              <a:t> </a:t>
            </a:r>
            <a:r>
              <a:rPr lang="ru-RU" sz="1600" dirty="0" smtClean="0"/>
              <a:t>- </a:t>
            </a:r>
            <a:r>
              <a:rPr lang="ru-RU" sz="1600" b="1" dirty="0" err="1"/>
              <a:t>Качарский</a:t>
            </a:r>
            <a:r>
              <a:rPr lang="ru-RU" sz="1600" b="1" dirty="0"/>
              <a:t> </a:t>
            </a:r>
            <a:r>
              <a:rPr lang="ru-RU" sz="1600" b="1" dirty="0" err="1"/>
              <a:t>теплоцентр</a:t>
            </a:r>
            <a:r>
              <a:rPr lang="ru-RU" sz="1600" b="1" dirty="0"/>
              <a:t> (КТЦ</a:t>
            </a:r>
            <a:r>
              <a:rPr lang="ru-RU" sz="1600" b="1" dirty="0" smtClean="0"/>
              <a:t>)</a:t>
            </a:r>
            <a:endParaRPr lang="ru-RU" sz="1600" dirty="0"/>
          </a:p>
        </p:txBody>
      </p:sp>
      <p:grpSp>
        <p:nvGrpSpPr>
          <p:cNvPr id="25" name="Group 488"/>
          <p:cNvGrpSpPr/>
          <p:nvPr/>
        </p:nvGrpSpPr>
        <p:grpSpPr>
          <a:xfrm>
            <a:off x="327039" y="3350987"/>
            <a:ext cx="371475" cy="371475"/>
            <a:chOff x="-2103438" y="3878264"/>
            <a:chExt cx="371475" cy="371475"/>
          </a:xfrm>
        </p:grpSpPr>
        <p:sp>
          <p:nvSpPr>
            <p:cNvPr id="26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250256" y="4641440"/>
            <a:ext cx="5880923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u="sng" dirty="0" smtClean="0"/>
              <a:t>Основное топливо </a:t>
            </a:r>
            <a:r>
              <a:rPr lang="ru-RU" sz="1600" dirty="0" smtClean="0"/>
              <a:t>– природный газ</a:t>
            </a:r>
            <a:r>
              <a:rPr lang="en-US" sz="1600" dirty="0" smtClean="0"/>
              <a:t>, </a:t>
            </a:r>
            <a:r>
              <a:rPr lang="ru-RU" sz="1600" dirty="0" smtClean="0"/>
              <a:t>уголь </a:t>
            </a:r>
            <a:r>
              <a:rPr lang="ru-RU" sz="1600" dirty="0" err="1" smtClean="0"/>
              <a:t>шубаркольский</a:t>
            </a:r>
            <a:r>
              <a:rPr lang="ru-RU" sz="1600" dirty="0" smtClean="0"/>
              <a:t>.</a:t>
            </a:r>
            <a:endParaRPr lang="ru-RU" sz="1600" dirty="0"/>
          </a:p>
        </p:txBody>
      </p:sp>
      <p:sp>
        <p:nvSpPr>
          <p:cNvPr id="38" name="TextBox 37"/>
          <p:cNvSpPr txBox="1"/>
          <p:nvPr/>
        </p:nvSpPr>
        <p:spPr>
          <a:xfrm>
            <a:off x="217236" y="5043638"/>
            <a:ext cx="5913944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u="sng" dirty="0" smtClean="0"/>
              <a:t>Единственный потребитель </a:t>
            </a:r>
            <a:r>
              <a:rPr lang="ru-RU" sz="1600" dirty="0" smtClean="0"/>
              <a:t>- </a:t>
            </a:r>
            <a:r>
              <a:rPr lang="ru-RU" sz="1600" dirty="0">
                <a:cs typeface="Arial" panose="020B0604020202020204" pitchFamily="34" charset="0"/>
              </a:rPr>
              <a:t>ТОО «Рудненская теплосеть</a:t>
            </a:r>
            <a:r>
              <a:rPr lang="ru-RU" sz="1600" dirty="0" smtClean="0">
                <a:cs typeface="Arial" panose="020B0604020202020204" pitchFamily="34" charset="0"/>
              </a:rPr>
              <a:t>»</a:t>
            </a:r>
            <a:r>
              <a:rPr lang="ru-RU" sz="1600" dirty="0" smtClean="0"/>
              <a:t> </a:t>
            </a:r>
            <a:endParaRPr lang="ru-RU" sz="1600" dirty="0"/>
          </a:p>
        </p:txBody>
      </p:sp>
      <p:sp>
        <p:nvSpPr>
          <p:cNvPr id="39" name="TextBox 38"/>
          <p:cNvSpPr txBox="1"/>
          <p:nvPr/>
        </p:nvSpPr>
        <p:spPr>
          <a:xfrm>
            <a:off x="250257" y="4311425"/>
            <a:ext cx="5517823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Дата ввода в эксплуатацию: </a:t>
            </a:r>
            <a:r>
              <a:rPr lang="ru-RU" sz="1600" b="1" dirty="0">
                <a:solidFill>
                  <a:prstClr val="black"/>
                </a:solidFill>
                <a:cs typeface="Arial" pitchFamily="34" charset="0"/>
              </a:rPr>
              <a:t>19</a:t>
            </a:r>
            <a:r>
              <a:rPr lang="en-US" sz="1600" b="1" dirty="0">
                <a:solidFill>
                  <a:prstClr val="black"/>
                </a:solidFill>
                <a:cs typeface="Arial" pitchFamily="34" charset="0"/>
              </a:rPr>
              <a:t>8</a:t>
            </a:r>
            <a:r>
              <a:rPr lang="ru-RU" sz="1600" b="1" dirty="0">
                <a:solidFill>
                  <a:prstClr val="black"/>
                </a:solidFill>
                <a:cs typeface="Arial" pitchFamily="34" charset="0"/>
              </a:rPr>
              <a:t>1 </a:t>
            </a:r>
            <a:r>
              <a:rPr lang="ru-RU" sz="1600" b="1" dirty="0" smtClean="0">
                <a:solidFill>
                  <a:prstClr val="black"/>
                </a:solidFill>
                <a:cs typeface="Arial" pitchFamily="34" charset="0"/>
              </a:rPr>
              <a:t>год</a:t>
            </a:r>
            <a:endParaRPr lang="ru-RU" sz="1600" dirty="0"/>
          </a:p>
        </p:txBody>
      </p:sp>
      <p:grpSp>
        <p:nvGrpSpPr>
          <p:cNvPr id="40" name="Group 488"/>
          <p:cNvGrpSpPr/>
          <p:nvPr/>
        </p:nvGrpSpPr>
        <p:grpSpPr>
          <a:xfrm>
            <a:off x="327241" y="3388734"/>
            <a:ext cx="371475" cy="371475"/>
            <a:chOff x="-2103438" y="3878264"/>
            <a:chExt cx="371475" cy="371475"/>
          </a:xfrm>
        </p:grpSpPr>
        <p:sp>
          <p:nvSpPr>
            <p:cNvPr id="41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6731" y="919261"/>
            <a:ext cx="2316643" cy="3100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249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67" name="Слайд think-cell" r:id="rId6" imgW="594" imgH="595" progId="TCLayout.ActiveDocument.1">
                  <p:embed/>
                </p:oleObj>
              </mc:Choice>
              <mc:Fallback>
                <p:oleObj name="Слайд think-cell" r:id="rId6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525" y="106687"/>
            <a:ext cx="10944880" cy="615631"/>
          </a:xfrm>
        </p:spPr>
        <p:txBody>
          <a:bodyPr vert="horz"/>
          <a:lstStyle/>
          <a:p>
            <a:r>
              <a:rPr lang="ru-RU" dirty="0" smtClean="0"/>
              <a:t>Информация об исполнении </a:t>
            </a:r>
            <a:r>
              <a:rPr lang="ru-RU" dirty="0"/>
              <a:t>инвестиционной программы</a:t>
            </a:r>
            <a:endParaRPr lang="en-US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270942" y="4895020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6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Текст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063039" y="5491163"/>
            <a:ext cx="3571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spcBef>
                <a:spcPct val="0"/>
              </a:spcBef>
              <a:buNone/>
            </a:pPr>
            <a:fld id="{E4EB9935-EA76-4AAD-B895-2E30B06EEF65}" type="datetime'''1''''''''''''''''''''''''''0''''''''''''''''''0%'''''''''">
              <a:rPr lang="ru-RU" altLang="en-US" sz="1000" smtClean="0">
                <a:solidFill>
                  <a:schemeClr val="bg1"/>
                </a:solidFill>
                <a:cs typeface="+mn-cs"/>
              </a:rPr>
              <a:pPr/>
              <a:t>100%</a:t>
            </a:fld>
            <a:endParaRPr lang="ru-RU" sz="1000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2" name="Пятиугольник 11"/>
          <p:cNvSpPr/>
          <p:nvPr/>
        </p:nvSpPr>
        <p:spPr bwMode="gray">
          <a:xfrm>
            <a:off x="390524" y="892198"/>
            <a:ext cx="6091757" cy="2352137"/>
          </a:xfrm>
          <a:prstGeom prst="homePlate">
            <a:avLst>
              <a:gd name="adj" fmla="val 20265"/>
            </a:avLst>
          </a:prstGeom>
          <a:solidFill>
            <a:schemeClr val="tx2">
              <a:lumMod val="20000"/>
              <a:lumOff val="80000"/>
              <a:alpha val="9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vert="horz" lIns="36000" tIns="36000" rIns="36000" bIns="36000" anchor="ctr"/>
          <a:lstStyle/>
          <a:p>
            <a:pPr marL="171450" indent="-171450" algn="just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/>
              <a:t>Инвестиционная программа на услуги по производству тепловой </a:t>
            </a:r>
            <a:r>
              <a:rPr lang="ru-RU" sz="1200" dirty="0" smtClean="0"/>
              <a:t>энергии АО </a:t>
            </a:r>
            <a:r>
              <a:rPr lang="ru-RU" sz="1200" dirty="0"/>
              <a:t>«</a:t>
            </a:r>
            <a:r>
              <a:rPr lang="ru-RU" sz="1200" dirty="0" err="1"/>
              <a:t>Качары</a:t>
            </a:r>
            <a:r>
              <a:rPr lang="ru-RU" sz="1200" dirty="0"/>
              <a:t> руда» </a:t>
            </a:r>
            <a:r>
              <a:rPr lang="ru-RU" sz="1200" dirty="0" smtClean="0"/>
              <a:t>на 2023 - 2027 годы утверждена </a:t>
            </a:r>
            <a:r>
              <a:rPr lang="ru-RU" sz="1200" dirty="0"/>
              <a:t>совместным приказом </a:t>
            </a:r>
            <a:r>
              <a:rPr lang="ru-RU" sz="1200" dirty="0" smtClean="0"/>
              <a:t>ДКРЕМ МНЭ РК по </a:t>
            </a:r>
            <a:r>
              <a:rPr lang="ru-RU" sz="1200" dirty="0"/>
              <a:t>Костанайской области от 15 июня 2023 года №85-ОД и Управления энергетики и </a:t>
            </a:r>
            <a:r>
              <a:rPr lang="ru-RU" sz="1200" dirty="0" smtClean="0"/>
              <a:t>ЖКХ </a:t>
            </a:r>
            <a:r>
              <a:rPr lang="ru-RU" sz="1200" dirty="0" err="1" smtClean="0"/>
              <a:t>акимата</a:t>
            </a:r>
            <a:r>
              <a:rPr lang="ru-RU" sz="1200" dirty="0" smtClean="0"/>
              <a:t> </a:t>
            </a:r>
            <a:r>
              <a:rPr lang="ru-RU" sz="1200" dirty="0"/>
              <a:t>Костанайской области от 27 июня </a:t>
            </a:r>
            <a:r>
              <a:rPr lang="ru-RU" sz="1200" dirty="0" smtClean="0"/>
              <a:t>2023 года №94-ОД (внесены </a:t>
            </a:r>
            <a:r>
              <a:rPr lang="ru-RU" sz="1200" dirty="0"/>
              <a:t>изменения совместным приказом </a:t>
            </a:r>
            <a:r>
              <a:rPr lang="ru-RU" sz="1200" dirty="0" smtClean="0"/>
              <a:t>ДКРЕМ МНЭ РК по </a:t>
            </a:r>
            <a:r>
              <a:rPr lang="ru-RU" sz="1200" dirty="0"/>
              <a:t>Костанайской области № </a:t>
            </a:r>
            <a:r>
              <a:rPr lang="ru-RU" sz="1200" dirty="0" smtClean="0"/>
              <a:t>17-ОД </a:t>
            </a:r>
            <a:r>
              <a:rPr lang="ru-RU" sz="1200" dirty="0"/>
              <a:t>от </a:t>
            </a:r>
            <a:r>
              <a:rPr lang="ru-RU" sz="1200" dirty="0" smtClean="0"/>
              <a:t>25.02.2026 </a:t>
            </a:r>
            <a:r>
              <a:rPr lang="ru-RU" sz="1200" dirty="0"/>
              <a:t>г. и Управлением энергетики и </a:t>
            </a:r>
            <a:r>
              <a:rPr lang="ru-RU" sz="1200" dirty="0" smtClean="0"/>
              <a:t>ЖКХ </a:t>
            </a:r>
            <a:r>
              <a:rPr lang="ru-RU" sz="1200" dirty="0" err="1" smtClean="0"/>
              <a:t>акимата</a:t>
            </a:r>
            <a:r>
              <a:rPr lang="ru-RU" sz="1200" dirty="0" smtClean="0"/>
              <a:t> </a:t>
            </a:r>
            <a:r>
              <a:rPr lang="ru-RU" sz="1200" dirty="0"/>
              <a:t>Костанайской области </a:t>
            </a:r>
            <a:r>
              <a:rPr lang="ru-RU" sz="1200" dirty="0" smtClean="0"/>
              <a:t>№22-ОД </a:t>
            </a:r>
            <a:r>
              <a:rPr lang="ru-RU" sz="1200" dirty="0"/>
              <a:t>от </a:t>
            </a:r>
            <a:r>
              <a:rPr lang="ru-RU" sz="1200" dirty="0" smtClean="0"/>
              <a:t>27.02.2026 </a:t>
            </a:r>
            <a:r>
              <a:rPr lang="ru-RU" sz="1200" dirty="0"/>
              <a:t>г</a:t>
            </a:r>
            <a:r>
              <a:rPr lang="ru-RU" sz="1200" dirty="0" smtClean="0"/>
              <a:t>.)</a:t>
            </a:r>
            <a:endParaRPr lang="ru-RU" sz="1200" dirty="0"/>
          </a:p>
        </p:txBody>
      </p:sp>
      <p:sp>
        <p:nvSpPr>
          <p:cNvPr id="13" name="Пятиугольник 12"/>
          <p:cNvSpPr/>
          <p:nvPr/>
        </p:nvSpPr>
        <p:spPr bwMode="gray">
          <a:xfrm>
            <a:off x="6557960" y="892200"/>
            <a:ext cx="5084796" cy="2352135"/>
          </a:xfrm>
          <a:prstGeom prst="homePlate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31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vert="horz" lIns="36000" tIns="36000" rIns="36000" bIns="36000" anchor="ctr"/>
          <a:lstStyle/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 smtClean="0"/>
              <a:t>Предусмотренная сумма инвестиционных вложений на 2025 год составляет </a:t>
            </a:r>
            <a:r>
              <a:rPr lang="ru-RU" sz="1200" b="1" dirty="0" smtClean="0">
                <a:solidFill>
                  <a:schemeClr val="accent2">
                    <a:lumMod val="75000"/>
                  </a:schemeClr>
                </a:solidFill>
              </a:rPr>
              <a:t>64,8</a:t>
            </a:r>
            <a:r>
              <a:rPr lang="ru-RU" sz="1200" dirty="0" smtClean="0"/>
              <a:t> </a:t>
            </a:r>
            <a:r>
              <a:rPr lang="ru-RU" sz="1200" b="1" dirty="0" smtClean="0"/>
              <a:t>млн. тенге.</a:t>
            </a:r>
          </a:p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 smtClean="0"/>
              <a:t>Фактические </a:t>
            </a:r>
            <a:r>
              <a:rPr lang="ru-RU" sz="1200" dirty="0"/>
              <a:t>затраты на капитальные ремонты оборудования </a:t>
            </a:r>
            <a:r>
              <a:rPr lang="ru-RU" sz="1200" dirty="0" smtClean="0"/>
              <a:t>на </a:t>
            </a:r>
            <a:r>
              <a:rPr lang="ru-RU" sz="1200" dirty="0"/>
              <a:t>услуги по </a:t>
            </a:r>
            <a:r>
              <a:rPr lang="ru-RU" sz="1200" dirty="0" smtClean="0"/>
              <a:t>производству</a:t>
            </a:r>
            <a:r>
              <a:rPr lang="en-US" sz="1200" dirty="0" smtClean="0"/>
              <a:t> </a:t>
            </a:r>
            <a:r>
              <a:rPr lang="ru-RU" sz="1200" dirty="0" smtClean="0"/>
              <a:t>тепловой энергии за 2025 год – </a:t>
            </a:r>
            <a:r>
              <a:rPr lang="ru-RU" sz="1200" b="1" dirty="0" smtClean="0">
                <a:solidFill>
                  <a:schemeClr val="accent2">
                    <a:lumMod val="75000"/>
                  </a:schemeClr>
                </a:solidFill>
              </a:rPr>
              <a:t>81,8 </a:t>
            </a:r>
            <a:r>
              <a:rPr lang="ru-RU" sz="1200" b="1" dirty="0" smtClean="0"/>
              <a:t>млн</a:t>
            </a:r>
            <a:r>
              <a:rPr lang="ru-RU" sz="1200" b="1" dirty="0"/>
              <a:t>. </a:t>
            </a:r>
            <a:r>
              <a:rPr lang="ru-RU" sz="1200" b="1" dirty="0" smtClean="0"/>
              <a:t>тенге.</a:t>
            </a:r>
          </a:p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 smtClean="0"/>
              <a:t> </a:t>
            </a:r>
            <a:r>
              <a:rPr lang="ru-RU" sz="1200" b="1" dirty="0">
                <a:solidFill>
                  <a:schemeClr val="accent1"/>
                </a:solidFill>
              </a:rPr>
              <a:t>Цель:</a:t>
            </a:r>
            <a:r>
              <a:rPr lang="ru-RU" sz="1200" b="1" dirty="0"/>
              <a:t> </a:t>
            </a:r>
            <a:r>
              <a:rPr lang="ru-RU" sz="1200" b="1" dirty="0" smtClean="0"/>
              <a:t>- </a:t>
            </a:r>
            <a:r>
              <a:rPr lang="ru-RU" sz="1200" dirty="0" smtClean="0"/>
              <a:t>снижение </a:t>
            </a:r>
            <a:r>
              <a:rPr lang="ru-RU" sz="1200" dirty="0"/>
              <a:t>загрязнения воздуха и сохранение эффективного управления </a:t>
            </a:r>
            <a:r>
              <a:rPr lang="ru-RU" sz="1200" dirty="0" smtClean="0"/>
              <a:t>экосистемами;</a:t>
            </a:r>
          </a:p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/>
              <a:t> </a:t>
            </a:r>
            <a:r>
              <a:rPr lang="ru-RU" sz="1200" dirty="0" smtClean="0"/>
              <a:t>           - </a:t>
            </a:r>
            <a:r>
              <a:rPr lang="ru-RU" sz="1200" dirty="0">
                <a:solidFill>
                  <a:srgbClr val="32373C"/>
                </a:solidFill>
              </a:rPr>
              <a:t>повышение надежности теплоснабжения потребителей и предотвращение увеличения  затрат на предоставление  регулируемых услуг.</a:t>
            </a:r>
            <a:endParaRPr lang="ru-RU" sz="1200" dirty="0"/>
          </a:p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endParaRPr lang="ru-RU" sz="1200" dirty="0" smtClean="0"/>
          </a:p>
        </p:txBody>
      </p:sp>
      <p:sp>
        <p:nvSpPr>
          <p:cNvPr id="15" name="Прямоугольник с двумя скругленными противолежащими углами 14"/>
          <p:cNvSpPr/>
          <p:nvPr/>
        </p:nvSpPr>
        <p:spPr>
          <a:xfrm>
            <a:off x="459350" y="3414216"/>
            <a:ext cx="5668900" cy="371204"/>
          </a:xfrm>
          <a:prstGeom prst="round2Diag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ctr"/>
            <a:r>
              <a:rPr lang="ru-RU" sz="1200" dirty="0">
                <a:solidFill>
                  <a:srgbClr val="000000"/>
                </a:solidFill>
                <a:latin typeface="Arial (Основной текст)"/>
              </a:rPr>
              <a:t>Приобретение и установка насоса ЦЕНТР. СЭ1250-140-11 630кВт 140м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482281" y="3468273"/>
            <a:ext cx="5257435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ctr"/>
            <a:r>
              <a:rPr lang="ru-RU" sz="1200" dirty="0">
                <a:solidFill>
                  <a:srgbClr val="000000"/>
                </a:solidFill>
                <a:latin typeface="Arial (Основной текст)"/>
              </a:rPr>
              <a:t>Капитальный ремонт дефектных участков трубопровода греющей воды от главного коллектора до </a:t>
            </a:r>
            <a:r>
              <a:rPr lang="ru-RU" sz="1200" dirty="0" err="1">
                <a:solidFill>
                  <a:srgbClr val="000000"/>
                </a:solidFill>
                <a:latin typeface="Arial (Основной текст)"/>
              </a:rPr>
              <a:t>деаэрационно</a:t>
            </a:r>
            <a:r>
              <a:rPr lang="ru-RU" sz="1200" dirty="0">
                <a:solidFill>
                  <a:srgbClr val="000000"/>
                </a:solidFill>
                <a:latin typeface="Arial (Основной текст)"/>
              </a:rPr>
              <a:t> </a:t>
            </a:r>
            <a:r>
              <a:rPr lang="ru-RU" sz="1200" dirty="0" err="1">
                <a:solidFill>
                  <a:srgbClr val="000000"/>
                </a:solidFill>
                <a:latin typeface="Arial (Основной текст)"/>
              </a:rPr>
              <a:t>подпитачной</a:t>
            </a:r>
            <a:r>
              <a:rPr lang="ru-RU" sz="1200" dirty="0">
                <a:solidFill>
                  <a:srgbClr val="000000"/>
                </a:solidFill>
                <a:latin typeface="Arial (Основной текст)"/>
              </a:rPr>
              <a:t> установки (перенос сроков исполнения с 2025 года на 2026 год)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1" b="1703"/>
          <a:stretch/>
        </p:blipFill>
        <p:spPr>
          <a:xfrm>
            <a:off x="1091381" y="3979729"/>
            <a:ext cx="4130353" cy="258821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8723" y="4245230"/>
            <a:ext cx="3893574" cy="23227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2207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8" y="0"/>
            <a:ext cx="10582275" cy="704850"/>
          </a:xfrm>
        </p:spPr>
        <p:txBody>
          <a:bodyPr/>
          <a:lstStyle/>
          <a:p>
            <a:r>
              <a:rPr lang="ru-RU" dirty="0"/>
              <a:t>Информация об исполнении утвержденной инвестиционной программы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 </a:t>
            </a:r>
            <a:r>
              <a:rPr lang="ru-RU" dirty="0"/>
              <a:t>итогам </a:t>
            </a:r>
            <a:r>
              <a:rPr lang="ru-RU" dirty="0" smtClean="0"/>
              <a:t>2025 года </a:t>
            </a:r>
            <a:r>
              <a:rPr lang="ru-RU" dirty="0"/>
              <a:t>(1/2)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3705290"/>
              </p:ext>
            </p:extLst>
          </p:nvPr>
        </p:nvGraphicFramePr>
        <p:xfrm>
          <a:off x="317498" y="1314376"/>
          <a:ext cx="11655045" cy="4389468"/>
        </p:xfrm>
        <a:graphic>
          <a:graphicData uri="http://schemas.openxmlformats.org/drawingml/2006/table">
            <a:tbl>
              <a:tblPr/>
              <a:tblGrid>
                <a:gridCol w="3966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629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4381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2986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43981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37473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1967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5043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54427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54427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550073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1128529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804672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621792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646176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597407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</a:tblGrid>
              <a:tr h="82517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Информация</a:t>
                      </a:r>
                      <a:r>
                        <a:rPr lang="ru-RU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о плановых и фактических объемах предоставления </a:t>
                      </a:r>
                      <a:r>
                        <a:rPr lang="ru-RU" sz="8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регулируемыз</a:t>
                      </a:r>
                      <a:r>
                        <a:rPr lang="ru-RU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услуг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Отчет о прибылях и убытках</a:t>
                      </a:r>
                      <a:r>
                        <a:rPr lang="ru-RU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за 2025г(тыс. тенге)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Сумма инвестиционной программы, тыс. тенг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Информация о фактических условиях и размерах финансирования инвестиционной программы, тыс. тенг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039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Наименование мероприят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Единица измере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оличество в натуральных показателя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ла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откл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.,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собственные средства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Заемные средств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юджетные средств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75519644"/>
                  </a:ext>
                </a:extLst>
              </a:tr>
              <a:tr h="5312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ла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Амортизация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Прибыль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535852092"/>
                  </a:ext>
                </a:extLst>
              </a:tr>
              <a:tr h="3045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67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о </a:t>
                      </a:r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.Качар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за </a:t>
                      </a:r>
                      <a:r>
                        <a:rPr lang="ru-RU" sz="8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025</a:t>
                      </a:r>
                    </a:p>
                    <a:p>
                      <a:pPr algn="ctr" fontAlgn="ctr"/>
                      <a:r>
                        <a:rPr lang="ru-RU" sz="8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год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64 894,1</a:t>
                      </a:r>
                      <a:endParaRPr lang="ru-RU" sz="800" b="1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81 817,5</a:t>
                      </a:r>
                      <a:endParaRPr lang="ru-RU" sz="800" b="1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26,1</a:t>
                      </a:r>
                      <a:endParaRPr lang="ru-RU" sz="800" b="1" i="1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039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Услуга по производству тепловой энергии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.Кач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риобретение и установка насоса ЦЕНТР. СЭ1250-140-11 630кВт 140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ш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025</a:t>
                      </a:r>
                    </a:p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год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- 558 326,0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37 500,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37 500,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46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64 894,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               -  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        -  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        -  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80394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апитальный ремонт дефектных участков трубопровода греющей воды от главного коллектора до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деаэрационно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одпитачной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установки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0,15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0,19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7 394,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44 317,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61,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Увеличение объема рабо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               -  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        -  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        -  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3663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формация об исполнении утвержденной инвестиционной программы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по итогам </a:t>
            </a:r>
            <a:r>
              <a:rPr lang="ru-RU" dirty="0" smtClean="0"/>
              <a:t>2025</a:t>
            </a:r>
            <a:br>
              <a:rPr lang="ru-RU" dirty="0" smtClean="0"/>
            </a:br>
            <a:r>
              <a:rPr lang="ru-RU" dirty="0" smtClean="0"/>
              <a:t> </a:t>
            </a:r>
            <a:r>
              <a:rPr lang="ru-RU" dirty="0"/>
              <a:t>года </a:t>
            </a:r>
            <a:r>
              <a:rPr lang="ru-RU" dirty="0" smtClean="0"/>
              <a:t>(2/2</a:t>
            </a:r>
            <a:r>
              <a:rPr lang="ru-RU" dirty="0"/>
              <a:t>)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369097"/>
              </p:ext>
            </p:extLst>
          </p:nvPr>
        </p:nvGraphicFramePr>
        <p:xfrm>
          <a:off x="317500" y="1292352"/>
          <a:ext cx="11447781" cy="4000165"/>
        </p:xfrm>
        <a:graphic>
          <a:graphicData uri="http://schemas.openxmlformats.org/drawingml/2006/table">
            <a:tbl>
              <a:tblPr/>
              <a:tblGrid>
                <a:gridCol w="3443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8638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7766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7368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7368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2530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2357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44581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71192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718834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718834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940014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808689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</a:tblGrid>
              <a:tr h="57696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формация о плановых и фактических объемах предоставления регулируемых услуг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0931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именование мероприят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лучшение производственных показателей, %, по годам реализации в зависимости от утвержденной инвестиционной программы</a:t>
                      </a:r>
                      <a:endParaRPr lang="ru-RU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968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72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 </a:t>
                      </a:r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.Качар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 </a:t>
                      </a:r>
                      <a:r>
                        <a:rPr lang="ru-RU" sz="8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4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а по производству тепловой энергии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.Кач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обретение и установка насоса ЦЕНТР. СЭ1250-140-11 630кВт 140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и достигнут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4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питальный ремонт дефектных участков трубопровода греющей воды от главного коллектора до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еаэрационно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дпитачной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становки (перенос сроков исполнения с 2025 года на 2026 год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07%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и достигнут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2904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43" name="Слайд think-cell" r:id="rId4" imgW="384" imgH="384" progId="TCLayout.ActiveDocument.1">
                  <p:embed/>
                </p:oleObj>
              </mc:Choice>
              <mc:Fallback>
                <p:oleObj name="Слайд think-cell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Инвестиционная программа на </a:t>
            </a:r>
            <a:r>
              <a:rPr lang="ru-RU" dirty="0"/>
              <a:t>услуги </a:t>
            </a:r>
            <a:r>
              <a:rPr lang="ru-RU" dirty="0" smtClean="0"/>
              <a:t>по </a:t>
            </a:r>
            <a:r>
              <a:rPr lang="ru-RU" dirty="0"/>
              <a:t>производству тепловой энергии </a:t>
            </a:r>
            <a:r>
              <a:rPr lang="ru-RU" dirty="0" smtClean="0"/>
              <a:t>АО «</a:t>
            </a:r>
            <a:r>
              <a:rPr lang="ru-RU" dirty="0" err="1" smtClean="0"/>
              <a:t>Качары</a:t>
            </a:r>
            <a:r>
              <a:rPr lang="ru-RU" dirty="0" smtClean="0"/>
              <a:t> руда» на 2023 - 2027 годы</a:t>
            </a:r>
            <a:endParaRPr lang="ru-RU" dirty="0"/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000664"/>
              </p:ext>
            </p:extLst>
          </p:nvPr>
        </p:nvGraphicFramePr>
        <p:xfrm>
          <a:off x="475482" y="999742"/>
          <a:ext cx="10887461" cy="4905678"/>
        </p:xfrm>
        <a:graphic>
          <a:graphicData uri="http://schemas.openxmlformats.org/drawingml/2006/table">
            <a:tbl>
              <a:tblPr/>
              <a:tblGrid>
                <a:gridCol w="8148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345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075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5642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1481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1481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1481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1481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1481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4400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</a:t>
                      </a:r>
                      <a:b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роприятий инвестиционной</a:t>
                      </a:r>
                      <a:b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д.изм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умма инвестиций, тыс. тенге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 финансирования, тысяч тенг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542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бственные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емны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ные средств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ятельность, не относящаяся к регулируемым услуга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590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ЕГО на 2023 год (корректировка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3 537,88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3 537,88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365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конструкция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чарского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плоцентр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 2 очередь строительства. Газоснабжение (внутренние устройства) К/А СТ. №1 КВ-Г-58,2-110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0 903,9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0 903,9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иобретение и установка насоса  ЖВН-12Н 2.88М3/Ч 22КВТ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633,9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633,9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ЕГО на 2024 го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067,3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14 713,7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50 353,5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76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конструкция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чарского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плоцентр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 4 очередь строительства. Установка К/А СТ. №2 КВ-Г-58,2-110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067,3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14 713,7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50 353,5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ЕГО на 2025 го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4 894,1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4 894,1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иобретение и установка насоса ЦЕНТР. СЭ1250-140-11 630кВт 140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500,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500,0 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589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питальный ремонт дефектных участков трубопровода греющей воды от главного коллектора до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аэрационно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дпитачной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установки (перенос сроков исполнения с 2025 года на 2026 год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5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94,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317,4  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ЕГО на 2026 го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004,61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004,61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589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питальный ремонт дефектных участков трубопровода химически очищенной воды на деаэрационно подпитачной установк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м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37 270,7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37 270,7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иобретение и установка насоса ВВН2-50Н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17 290,73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17 290,73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иобретение  и установка насоса Х80-65-160К-СД-У2 с двигателем 18,5 кВт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407,0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407,0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иобретение  и установка насоса Д315-71 с электродвигателем 110кВт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8 036,0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8 036,0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ЕГО на 2027 го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74 020,9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74 020,9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589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питальный ремонт дефектных участков подпиточного трубопровода от аккумуляторных баков до главного коллектор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м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432,61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432,61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иобретение и установка фильтра натрий-катионит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8 588,3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8 588,3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ТОГО 2023-2027 г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352 524,92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302 171,3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50 353,5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636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формация о постатейном исполнении утвержденной тарифной сметы на услугу по производству тепловой энергии п. </a:t>
            </a:r>
            <a:r>
              <a:rPr lang="ru-RU" dirty="0" err="1"/>
              <a:t>Качар</a:t>
            </a:r>
            <a:r>
              <a:rPr lang="ru-RU" dirty="0"/>
              <a:t> по итогам </a:t>
            </a:r>
            <a:r>
              <a:rPr lang="ru-RU" dirty="0" smtClean="0"/>
              <a:t>202</a:t>
            </a:r>
            <a:r>
              <a:rPr lang="en-US" dirty="0" smtClean="0"/>
              <a:t>5</a:t>
            </a:r>
            <a:r>
              <a:rPr lang="ru-RU" dirty="0" smtClean="0"/>
              <a:t> </a:t>
            </a:r>
            <a:r>
              <a:rPr lang="ru-RU" dirty="0"/>
              <a:t>года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399196"/>
              </p:ext>
            </p:extLst>
          </p:nvPr>
        </p:nvGraphicFramePr>
        <p:xfrm>
          <a:off x="317499" y="808863"/>
          <a:ext cx="11705502" cy="5940648"/>
        </p:xfrm>
        <a:graphic>
          <a:graphicData uri="http://schemas.openxmlformats.org/drawingml/2006/table">
            <a:tbl>
              <a:tblPr/>
              <a:tblGrid>
                <a:gridCol w="58102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832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1398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6262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2297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1124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453036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497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показателей тарифной смет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в процента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производство товаров и предоставление услуг, все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02 176,2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544 721,3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4,1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49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ьные затраты, все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34 070,3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49 605,4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3,3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опливо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6 391,2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16 404,4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2,4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объемов потребления газа произошло за счет снижения объемов реализации тепловой энергии по причинам не зависящим от АО «</a:t>
                      </a:r>
                      <a:r>
                        <a:rPr lang="ru-RU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чары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руда», 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вышение фактической температуры наружного воздуха.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03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нерг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1 640,0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5 799,4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,6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затрат за счет увеличение цены на 26,9% (план – 12,8 тенге/кВт*ч, факт – 16,2 тенге/кВт*ч) относительно утвержденной тарифной смет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091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материал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 039,1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401,5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,8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затрат за счет увеличения кол-ва и цен на вспомогательные материалы, ГСМ и средства индивидуальной защит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091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оплату тру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9 675,5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5 366,3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,0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ост средней заработной платы (минимального расчётного показателя МРП) с учётом уровня инфляции и связанных с ней социальных отчислен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125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4 894,1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2 373,7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0,5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я затрат по амортизационным отчислениям за счет капитализируемых ремонтов и ввода нового оборуд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091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монт, все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 641,8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0 933,8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,9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ост затрат за счет: влияния цен (приобретение ТМЦ) в соответствии с процедурой закупа, увеличения объема текущих ремонтов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229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затрат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 058,0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8 837,4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6,7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229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229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в фонд ОО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881,0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936,2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9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воение затрат в соответствии с действующим законодательством (МРП, обязательства) и договорами на предоставление услуг сторонними организациям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/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651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язательные платежи (страхование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1,3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852,9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358,5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362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сторонних организац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856,4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 010,2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8,3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448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ком.хозяйства (вода, стоки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 133,3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015,7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,0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127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налог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 786,0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 022,4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,0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63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полученные от подразделений предприят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836,5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7 604,7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77,5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203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рансформация электроэнерги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793,3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2 843,4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4,9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ебестоимости услуг службы сетей и подстанций обусловлено ростом цен на ТМЦ, увеличением услуг от подразделений и затрат на персонал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742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кладов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7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,3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0,2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гласно фактической себестоимости предъявленных услу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3074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механизмов (Хоз и ДСТ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,5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4 738,9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3299,8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затрат бульдозерной техники  связано с увеличением ремонтных работ, а также ростом стоимости дизельного топлива, увеличение затрат на оплату труда производственного персонал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117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ери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 433,7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117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затрат на производство теплоэнерги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02 176,2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553 154,9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,0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1537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 для сторонних потребителе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4 586,4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74 182,1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1,6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  <a:tr h="1117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ход(РБА*СП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05 865,3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3"/>
                  </a:ext>
                </a:extLst>
              </a:tr>
              <a:tr h="2189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.ч доход (РБА*СП)(стороние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8 326,1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4"/>
                  </a:ext>
                </a:extLst>
              </a:tr>
              <a:tr h="1434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гулируемая база задействованных активов (РБА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429 518,0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376 646,7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9,0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5"/>
                  </a:ext>
                </a:extLst>
              </a:tr>
              <a:tr h="1895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ход от реализованных услуг (затраты + прибыль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02 176,2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47 289,6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5,4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6"/>
                  </a:ext>
                </a:extLst>
              </a:tr>
              <a:tr h="2049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.ч. доход от реализованных услуг сторонним потребителя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4 586,4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5 856,0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,4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7"/>
                  </a:ext>
                </a:extLst>
              </a:tr>
              <a:tr h="1383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мы оказываемых услуг, АО "Качары руда" все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2 854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7 877,0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,3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8"/>
                  </a:ext>
                </a:extLst>
              </a:tr>
              <a:tr h="2203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.ч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объем реализованных услуг сторонним потребителям  АО "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чары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руда"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 101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 693,0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2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9"/>
                  </a:ext>
                </a:extLst>
              </a:tr>
              <a:tr h="1195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риф на производств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543,4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543,4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7911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формация о соблюдении показателей качества и надежности регулируемых услуг и достижении показателей эффективности деятельности по итогам </a:t>
            </a:r>
            <a:r>
              <a:rPr lang="ru-RU" dirty="0" smtClean="0"/>
              <a:t>2025 </a:t>
            </a:r>
            <a:r>
              <a:rPr lang="ru-RU" dirty="0"/>
              <a:t>год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524762" y="974977"/>
            <a:ext cx="11449050" cy="447394"/>
          </a:xfrm>
        </p:spPr>
        <p:txBody>
          <a:bodyPr/>
          <a:lstStyle/>
          <a:p>
            <a:pPr indent="361950"/>
            <a:r>
              <a:rPr lang="ru-RU" sz="1200" dirty="0"/>
              <a:t>В результате выполнения в </a:t>
            </a:r>
            <a:r>
              <a:rPr lang="ru-RU" sz="1200" dirty="0" smtClean="0"/>
              <a:t>2025 </a:t>
            </a:r>
            <a:r>
              <a:rPr lang="ru-RU" sz="1200" dirty="0"/>
              <a:t>году </a:t>
            </a:r>
            <a:r>
              <a:rPr lang="ru-RU" sz="1200" dirty="0" smtClean="0"/>
              <a:t>приобретения оборудования и капитальный ремонт дефектных участков трубопровода, </a:t>
            </a:r>
            <a:r>
              <a:rPr lang="ru-RU" sz="1200" dirty="0"/>
              <a:t>предусмотренных в инвестиционной программе на </a:t>
            </a:r>
            <a:r>
              <a:rPr lang="ru-RU" sz="1200" dirty="0" smtClean="0"/>
              <a:t>2025 </a:t>
            </a:r>
            <a:r>
              <a:rPr lang="ru-RU" sz="1200" dirty="0"/>
              <a:t>год, АО «</a:t>
            </a:r>
            <a:r>
              <a:rPr lang="ru-RU" sz="1200" dirty="0" err="1"/>
              <a:t>Качары</a:t>
            </a:r>
            <a:r>
              <a:rPr lang="ru-RU" sz="1200" dirty="0"/>
              <a:t> руда» достигнуты показатели: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grpSp>
        <p:nvGrpSpPr>
          <p:cNvPr id="5" name="Group 488"/>
          <p:cNvGrpSpPr/>
          <p:nvPr/>
        </p:nvGrpSpPr>
        <p:grpSpPr>
          <a:xfrm>
            <a:off x="431799" y="841248"/>
            <a:ext cx="371475" cy="262223"/>
            <a:chOff x="-2103438" y="3878264"/>
            <a:chExt cx="371475" cy="371475"/>
          </a:xfrm>
        </p:grpSpPr>
        <p:sp>
          <p:nvSpPr>
            <p:cNvPr id="6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1323867"/>
              </p:ext>
            </p:extLst>
          </p:nvPr>
        </p:nvGraphicFramePr>
        <p:xfrm>
          <a:off x="465136" y="1494247"/>
          <a:ext cx="11301982" cy="1410005"/>
        </p:xfrm>
        <a:graphic>
          <a:graphicData uri="http://schemas.openxmlformats.org/drawingml/2006/table">
            <a:tbl>
              <a:tblPr/>
              <a:tblGrid>
                <a:gridCol w="3901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722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3194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5191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5191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5191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45191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5317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ь качества и надежност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года (полугодия), предшествующего отчетному периоду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(на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соблюдения показателей надежности и качеств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чины (обоснование) несоблюдения показателей надежности и качеств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564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25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тверждалс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% до 100%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% до 100%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8771798"/>
              </p:ext>
            </p:extLst>
          </p:nvPr>
        </p:nvGraphicFramePr>
        <p:xfrm>
          <a:off x="465136" y="3188065"/>
          <a:ext cx="11301982" cy="1630766"/>
        </p:xfrm>
        <a:graphic>
          <a:graphicData uri="http://schemas.openxmlformats.org/drawingml/2006/table">
            <a:tbl>
              <a:tblPr/>
              <a:tblGrid>
                <a:gridCol w="3901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722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3194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5191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5191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5191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45191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661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ь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ффективност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года (полугодия), предшествующего отчетному периоду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(на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жения показателей эффективност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чины (обоснование) </a:t>
                      </a:r>
                      <a:r>
                        <a:rPr lang="ru-RU" sz="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достижения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ей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ффективност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39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757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тверждалс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% до 100%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% до 100%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гну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515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957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84" name="Слайд think-cell" r:id="rId36" imgW="395" imgH="396" progId="TCLayout.ActiveDocument.1">
                  <p:embed/>
                </p:oleObj>
              </mc:Choice>
              <mc:Fallback>
                <p:oleObj name="Слайд think-cell" r:id="rId36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б основных финансово-экономических показателях регулируемой деятельности по итогам </a:t>
            </a:r>
            <a:r>
              <a:rPr lang="ru-RU" dirty="0" smtClean="0"/>
              <a:t>2025 </a:t>
            </a:r>
            <a:r>
              <a:rPr lang="ru-RU" dirty="0"/>
              <a:t>годам об объемах предоставленных регулируемых услуг</a:t>
            </a:r>
          </a:p>
        </p:txBody>
      </p:sp>
      <p:sp>
        <p:nvSpPr>
          <p:cNvPr id="57" name="Rectangle 119"/>
          <p:cNvSpPr/>
          <p:nvPr/>
        </p:nvSpPr>
        <p:spPr>
          <a:xfrm>
            <a:off x="0" y="5759450"/>
            <a:ext cx="12192000" cy="850802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/>
              <a:t>Деятельность АО </a:t>
            </a:r>
            <a:r>
              <a:rPr lang="ru-RU" dirty="0" smtClean="0"/>
              <a:t>«</a:t>
            </a:r>
            <a:r>
              <a:rPr lang="ru-RU" dirty="0" err="1" smtClean="0"/>
              <a:t>Качары</a:t>
            </a:r>
            <a:r>
              <a:rPr lang="ru-RU" dirty="0" smtClean="0"/>
              <a:t> руда» </a:t>
            </a:r>
            <a:r>
              <a:rPr lang="ru-RU" dirty="0"/>
              <a:t>по производству тепловой энергии является </a:t>
            </a:r>
            <a:r>
              <a:rPr lang="ru-RU" dirty="0" smtClean="0"/>
              <a:t>убыточной </a:t>
            </a:r>
            <a:r>
              <a:rPr lang="ru-RU" dirty="0"/>
              <a:t>и субсидируется за счет основного </a:t>
            </a:r>
            <a:r>
              <a:rPr lang="ru-RU" dirty="0" smtClean="0"/>
              <a:t>производства.</a:t>
            </a:r>
            <a:endParaRPr lang="ru-RU" dirty="0"/>
          </a:p>
          <a:p>
            <a:pPr algn="ctr"/>
            <a:r>
              <a:rPr lang="ru-RU" dirty="0" smtClean="0"/>
              <a:t>Действующие тарифы </a:t>
            </a:r>
            <a:r>
              <a:rPr lang="ru-RU" dirty="0"/>
              <a:t>не </a:t>
            </a:r>
            <a:r>
              <a:rPr lang="ru-RU" dirty="0" smtClean="0"/>
              <a:t>компенсирую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51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7940186"/>
              </p:ext>
            </p:extLst>
          </p:nvPr>
        </p:nvGraphicFramePr>
        <p:xfrm>
          <a:off x="873125" y="1836738"/>
          <a:ext cx="2166938" cy="270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22" name="Прямоугольник 21"/>
          <p:cNvSpPr/>
          <p:nvPr>
            <p:custDataLst>
              <p:tags r:id="rId4"/>
            </p:custDataLst>
          </p:nvPr>
        </p:nvSpPr>
        <p:spPr bwMode="auto">
          <a:xfrm>
            <a:off x="1474788" y="4375150"/>
            <a:ext cx="373063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9DB1A0-627B-468B-85C6-472356B78CE6}" type="datetime'Д''''''''о''х''''''од'''','''''''' ''мл''н. ''тенг''''е'' '''">
              <a:rPr lang="ru-RU" altLang="en-US" sz="900" smtClean="0">
                <a:solidFill>
                  <a:schemeClr val="tx1"/>
                </a:solidFill>
              </a:rPr>
              <a:pPr/>
              <a:t>Доход, млн. тенге 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5"/>
            </p:custDataLst>
          </p:nvPr>
        </p:nvSpPr>
        <p:spPr bwMode="auto">
          <a:xfrm>
            <a:off x="1966913" y="4375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73153E-2C33-4D57-B174-8A0881C4ADF3}" type="datetime'''''''''''''з''''а''''''тр''а''ты, ''мл''н''. т''''''ен''''ге'">
              <a:rPr lang="ru-RU" altLang="en-US" sz="900" smtClean="0">
                <a:solidFill>
                  <a:schemeClr val="tx1"/>
                </a:solidFill>
              </a:rPr>
              <a:pPr/>
              <a:t>затраты, млн. тенг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52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07489006"/>
              </p:ext>
            </p:extLst>
          </p:nvPr>
        </p:nvGraphicFramePr>
        <p:xfrm>
          <a:off x="231775" y="1236663"/>
          <a:ext cx="1373188" cy="3305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27" name="Прямоугольник 26"/>
          <p:cNvSpPr/>
          <p:nvPr>
            <p:custDataLst>
              <p:tags r:id="rId7"/>
            </p:custDataLst>
          </p:nvPr>
        </p:nvSpPr>
        <p:spPr bwMode="auto">
          <a:xfrm>
            <a:off x="552450" y="4375150"/>
            <a:ext cx="731838" cy="546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B94FDD5-3572-466B-95BD-174A44BE18A7}" type="datetime'''объем'' ок''азы''ваем''ы''х услу''г'',ты''''''с''. Гк''ал'">
              <a:rPr lang="ru-RU" altLang="en-US" sz="900" smtClean="0">
                <a:solidFill>
                  <a:schemeClr val="tx1"/>
                </a:solidFill>
              </a:rPr>
              <a:pPr/>
              <a:t>объем оказываемых услуг,тыс. Гкал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 bwMode="gray">
          <a:xfrm>
            <a:off x="838200" y="1292225"/>
            <a:ext cx="15875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  <a:sym typeface="Arial" panose="020B0604020202020204" pitchFamily="34" charset="0"/>
              </a:rPr>
              <a:t>98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53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89577828"/>
              </p:ext>
            </p:extLst>
          </p:nvPr>
        </p:nvGraphicFramePr>
        <p:xfrm>
          <a:off x="1971675" y="2978150"/>
          <a:ext cx="3278188" cy="15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30" name="Прямоугольник 29"/>
          <p:cNvSpPr/>
          <p:nvPr>
            <p:custDataLst>
              <p:tags r:id="rId10"/>
            </p:custDataLst>
          </p:nvPr>
        </p:nvSpPr>
        <p:spPr bwMode="auto">
          <a:xfrm>
            <a:off x="3189288" y="4375150"/>
            <a:ext cx="84296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4C9A222-C310-4014-BA01-683EF347F2F7}" type="datetime'се''бе''''''с''то''имост''ь'', те''''н''ге/''''''Г''''''ка''л'">
              <a:rPr lang="ru-RU" altLang="en-US" sz="900" smtClean="0">
                <a:solidFill>
                  <a:schemeClr val="tx1"/>
                </a:solidFill>
              </a:rPr>
              <a:pPr/>
              <a:t>себестоимость, тенге/Гкал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54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25505808"/>
              </p:ext>
            </p:extLst>
          </p:nvPr>
        </p:nvGraphicFramePr>
        <p:xfrm>
          <a:off x="1759557" y="2865438"/>
          <a:ext cx="2266343" cy="167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32" name="Прямоугольник 31"/>
          <p:cNvSpPr/>
          <p:nvPr>
            <p:custDataLst>
              <p:tags r:id="rId12"/>
            </p:custDataLst>
          </p:nvPr>
        </p:nvSpPr>
        <p:spPr bwMode="auto">
          <a:xfrm>
            <a:off x="2630488" y="4375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FF84D8-43FD-4BD8-83E8-CC6FA26C8DDB}" type="datetime'уб''''''''ы''т''ок, ''м''''л''''н.'' т''е''нг''''е'''''''''">
              <a:rPr lang="ru-RU" altLang="en-US" sz="900" smtClean="0">
                <a:solidFill>
                  <a:schemeClr val="tx1"/>
                </a:solidFill>
              </a:rPr>
              <a:pPr/>
              <a:t>убыток, млн. тенг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3" name="Freeform 140"/>
          <p:cNvSpPr/>
          <p:nvPr/>
        </p:nvSpPr>
        <p:spPr>
          <a:xfrm>
            <a:off x="419100" y="1085850"/>
            <a:ext cx="5380038" cy="3838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Основные финансово-экономические показатели за 2025 год</a:t>
            </a: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34" name="Freeform 140"/>
          <p:cNvSpPr/>
          <p:nvPr/>
        </p:nvSpPr>
        <p:spPr>
          <a:xfrm>
            <a:off x="6320734" y="1085850"/>
            <a:ext cx="5514215" cy="3838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Объемы </a:t>
            </a:r>
            <a:r>
              <a:rPr lang="ru-RU" sz="1200" dirty="0">
                <a:solidFill>
                  <a:schemeClr val="accent1"/>
                </a:solidFill>
              </a:rPr>
              <a:t>предоставленных регулируемых </a:t>
            </a:r>
            <a:r>
              <a:rPr lang="ru-RU" sz="1200" dirty="0" smtClean="0">
                <a:solidFill>
                  <a:schemeClr val="accent1"/>
                </a:solidFill>
              </a:rPr>
              <a:t>услуг за 2025 год , Гкал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155" name="Chart 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48849519"/>
              </p:ext>
            </p:extLst>
          </p:nvPr>
        </p:nvGraphicFramePr>
        <p:xfrm>
          <a:off x="3045262" y="3048000"/>
          <a:ext cx="2960688" cy="149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36" name="Прямоугольник 35"/>
          <p:cNvSpPr/>
          <p:nvPr>
            <p:custDataLst>
              <p:tags r:id="rId14"/>
            </p:custDataLst>
          </p:nvPr>
        </p:nvSpPr>
        <p:spPr bwMode="auto">
          <a:xfrm>
            <a:off x="4049713" y="4375150"/>
            <a:ext cx="457200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с</a:t>
            </a:r>
            <a:r>
              <a:rPr lang="ru-RU" altLang="en-US" sz="900" dirty="0" smtClean="0">
                <a:solidFill>
                  <a:schemeClr val="tx1"/>
                </a:solidFill>
              </a:rPr>
              <a:t> 01.01.25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15"/>
            </p:custDataLst>
          </p:nvPr>
        </p:nvSpPr>
        <p:spPr bwMode="auto">
          <a:xfrm>
            <a:off x="4575175" y="4375150"/>
            <a:ext cx="457200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с</a:t>
            </a:r>
            <a:r>
              <a:rPr lang="ru-RU" altLang="en-US" sz="900" dirty="0" smtClean="0">
                <a:solidFill>
                  <a:schemeClr val="tx1"/>
                </a:solidFill>
              </a:rPr>
              <a:t> 01.09.25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6"/>
            </p:custDataLst>
          </p:nvPr>
        </p:nvSpPr>
        <p:spPr bwMode="auto">
          <a:xfrm>
            <a:off x="465138" y="507841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17"/>
            </p:custDataLst>
          </p:nvPr>
        </p:nvSpPr>
        <p:spPr bwMode="auto">
          <a:xfrm>
            <a:off x="465138" y="5265738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18"/>
            </p:custDataLst>
          </p:nvPr>
        </p:nvSpPr>
        <p:spPr bwMode="auto">
          <a:xfrm>
            <a:off x="676275" y="5075238"/>
            <a:ext cx="13954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F68B26B-A211-41A4-BA03-0C7DE6CCC965}" type="datetime'собст''в''''''е''''н''ное'' ''по''''''т''ребле''''''н''и''е'''">
              <a:rPr lang="ru-RU" altLang="en-US" sz="900" smtClean="0">
                <a:solidFill>
                  <a:schemeClr val="tx1"/>
                </a:solidFill>
              </a:rPr>
              <a:pPr/>
              <a:t>собственное потреблени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9"/>
            </p:custDataLst>
          </p:nvPr>
        </p:nvSpPr>
        <p:spPr bwMode="auto">
          <a:xfrm>
            <a:off x="676275" y="5262563"/>
            <a:ext cx="12652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C284C86-0413-469E-B399-966410DE63F8}" type="datetime'сто''''р''''''онн''и''е п''от''''р''''''''еби''те''''''''''ли'">
              <a:rPr lang="ru-RU" altLang="en-US" sz="900" smtClean="0">
                <a:solidFill>
                  <a:schemeClr val="tx1"/>
                </a:solidFill>
              </a:rPr>
              <a:pPr/>
              <a:t>сторонние потребители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20"/>
            </p:custDataLst>
          </p:nvPr>
        </p:nvSpPr>
        <p:spPr bwMode="auto">
          <a:xfrm>
            <a:off x="4062413" y="5038725"/>
            <a:ext cx="160338" cy="1206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21"/>
            </p:custDataLst>
          </p:nvPr>
        </p:nvSpPr>
        <p:spPr bwMode="auto">
          <a:xfrm>
            <a:off x="4273550" y="5035550"/>
            <a:ext cx="9588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BA48149-6D29-4DAF-B050-4A5B008A5114}" type="datetime'та''ри''''ф'','''' те''н''''ге''/''Гка''л'''''''''''''''''''">
              <a:rPr lang="ru-RU" altLang="en-US" sz="900" smtClean="0">
                <a:solidFill>
                  <a:schemeClr val="tx1"/>
                </a:solidFill>
              </a:rPr>
              <a:pPr/>
              <a:t>тариф, 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156" name="Chart 3"/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34948014"/>
              </p:ext>
            </p:extLst>
          </p:nvPr>
        </p:nvGraphicFramePr>
        <p:xfrm>
          <a:off x="6561138" y="1582738"/>
          <a:ext cx="2906712" cy="3011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53" name="Прямая соединительная линия 52"/>
          <p:cNvCxnSpPr/>
          <p:nvPr>
            <p:custDataLst>
              <p:tags r:id="rId23"/>
            </p:custDataLst>
          </p:nvPr>
        </p:nvCxnSpPr>
        <p:spPr bwMode="auto">
          <a:xfrm flipV="1">
            <a:off x="6967538" y="161448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>
            <p:custDataLst>
              <p:tags r:id="rId24"/>
            </p:custDataLst>
          </p:nvPr>
        </p:nvCxnSpPr>
        <p:spPr bwMode="auto">
          <a:xfrm>
            <a:off x="6967538" y="1614488"/>
            <a:ext cx="1370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>
            <p:custDataLst>
              <p:tags r:id="rId25"/>
            </p:custDataLst>
          </p:nvPr>
        </p:nvCxnSpPr>
        <p:spPr bwMode="auto">
          <a:xfrm>
            <a:off x="8337550" y="1614488"/>
            <a:ext cx="0" cy="793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>
            <p:custDataLst>
              <p:tags r:id="rId26"/>
            </p:custDataLst>
          </p:nvPr>
        </p:nvSpPr>
        <p:spPr bwMode="auto">
          <a:xfrm>
            <a:off x="6884988" y="4427538"/>
            <a:ext cx="8874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CC2373-7869-43B9-A8D3-E4A02BA12D97}" type="datetime'''уч''''те''''''''но в ''т''а''рифной'''''''''''' ''с''мете'">
              <a:rPr lang="ru-RU" altLang="en-US" sz="900" smtClean="0">
                <a:solidFill>
                  <a:schemeClr val="tx1"/>
                </a:solidFill>
              </a:rPr>
              <a:pPr/>
              <a:t>учтено в тарифной смет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27"/>
            </p:custDataLst>
          </p:nvPr>
        </p:nvSpPr>
        <p:spPr bwMode="auto">
          <a:xfrm>
            <a:off x="8286750" y="4427538"/>
            <a:ext cx="8255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Факт 2025 года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0" name="Овал 59"/>
          <p:cNvSpPr/>
          <p:nvPr>
            <p:custDataLst>
              <p:tags r:id="rId28"/>
            </p:custDataLst>
          </p:nvPr>
        </p:nvSpPr>
        <p:spPr bwMode="auto">
          <a:xfrm>
            <a:off x="7462839" y="1517650"/>
            <a:ext cx="377825" cy="19367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b="1" dirty="0" smtClean="0">
                <a:solidFill>
                  <a:schemeClr val="tx1"/>
                </a:solidFill>
              </a:rPr>
              <a:t>26%</a:t>
            </a:r>
            <a:endParaRPr lang="ru-RU" sz="900" b="1" dirty="0">
              <a:solidFill>
                <a:schemeClr val="tx1"/>
              </a:solidFill>
            </a:endParaRPr>
          </a:p>
        </p:txBody>
      </p:sp>
      <p:sp>
        <p:nvSpPr>
          <p:cNvPr id="61" name="Прямоугольник 60"/>
          <p:cNvSpPr/>
          <p:nvPr>
            <p:custDataLst>
              <p:tags r:id="rId29"/>
            </p:custDataLst>
          </p:nvPr>
        </p:nvSpPr>
        <p:spPr bwMode="auto">
          <a:xfrm>
            <a:off x="9431338" y="3209925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30"/>
            </p:custDataLst>
          </p:nvPr>
        </p:nvSpPr>
        <p:spPr bwMode="auto">
          <a:xfrm>
            <a:off x="9431338" y="3397250"/>
            <a:ext cx="160338" cy="120650"/>
          </a:xfrm>
          <a:prstGeom prst="rect">
            <a:avLst/>
          </a:prstGeom>
          <a:solidFill>
            <a:srgbClr val="96969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31"/>
            </p:custDataLst>
          </p:nvPr>
        </p:nvSpPr>
        <p:spPr bwMode="auto">
          <a:xfrm>
            <a:off x="9431338" y="3584575"/>
            <a:ext cx="160338" cy="120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4" name="Прямоугольник 63"/>
          <p:cNvSpPr/>
          <p:nvPr>
            <p:custDataLst>
              <p:tags r:id="rId32"/>
            </p:custDataLst>
          </p:nvPr>
        </p:nvSpPr>
        <p:spPr bwMode="auto">
          <a:xfrm>
            <a:off x="9642475" y="3206750"/>
            <a:ext cx="20224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8B7C188-26D9-43C9-B6B2-50996A5C62B1}" type="datetime'в''сег''''''о объем'' ''оказ''ываем''''ых ''''услуг, в т.ч'''">
              <a:rPr lang="ru-RU" altLang="en-US" sz="900" smtClean="0">
                <a:solidFill>
                  <a:schemeClr val="tx1"/>
                </a:solidFill>
              </a:rPr>
              <a:pPr/>
              <a:t>всего объем оказываемых услуг, в т.ч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5" name="Прямоугольник 64"/>
          <p:cNvSpPr/>
          <p:nvPr>
            <p:custDataLst>
              <p:tags r:id="rId33"/>
            </p:custDataLst>
          </p:nvPr>
        </p:nvSpPr>
        <p:spPr bwMode="auto">
          <a:xfrm>
            <a:off x="9642475" y="3394075"/>
            <a:ext cx="12652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5D04EE7-49A1-41AD-9696-CD8599AB5FC2}" type="datetime'с''''т''''ор''он''ни''''е ''''п''''''о''т''р''е''''бите''ли'">
              <a:rPr lang="ru-RU" altLang="en-US" sz="900" smtClean="0">
                <a:solidFill>
                  <a:schemeClr val="tx1"/>
                </a:solidFill>
              </a:rPr>
              <a:pPr/>
              <a:t>сторонние потребители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34"/>
            </p:custDataLst>
          </p:nvPr>
        </p:nvSpPr>
        <p:spPr bwMode="auto">
          <a:xfrm>
            <a:off x="9642475" y="3581400"/>
            <a:ext cx="13954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5011BF3-9790-4095-96EE-14AC49EFCC4E}" type="datetime'''''с''обств''''''ен''н''ое'''' ''''''''потребл''''ение'''''">
              <a:rPr lang="ru-RU" altLang="en-US" sz="900" smtClean="0">
                <a:solidFill>
                  <a:schemeClr val="tx1"/>
                </a:solidFill>
              </a:rPr>
              <a:pPr/>
              <a:t>собственное потреблени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6" name="Текст 2"/>
          <p:cNvSpPr>
            <a:spLocks noGrp="1"/>
          </p:cNvSpPr>
          <p:nvPr>
            <p:ph type="body" sz="quarter" idx="12"/>
          </p:nvPr>
        </p:nvSpPr>
        <p:spPr>
          <a:xfrm>
            <a:off x="6612156" y="4989513"/>
            <a:ext cx="5222794" cy="522287"/>
          </a:xfrm>
        </p:spPr>
        <p:txBody>
          <a:bodyPr/>
          <a:lstStyle/>
          <a:p>
            <a:pPr algn="just"/>
            <a:r>
              <a:rPr lang="ru-RU" sz="900" dirty="0" smtClean="0">
                <a:ea typeface="Times New Roman" panose="02020603050405020304" pitchFamily="18" charset="0"/>
              </a:rPr>
              <a:t>Оказание </a:t>
            </a:r>
            <a:r>
              <a:rPr lang="ru-RU" sz="900" dirty="0">
                <a:ea typeface="Times New Roman" panose="02020603050405020304" pitchFamily="18" charset="0"/>
              </a:rPr>
              <a:t>услуг производится в соответствии с требованиями заключенных Сторонами договоров (между АО </a:t>
            </a:r>
            <a:r>
              <a:rPr lang="ru-RU" sz="900" dirty="0" smtClean="0">
                <a:ea typeface="Times New Roman" panose="02020603050405020304" pitchFamily="18" charset="0"/>
              </a:rPr>
              <a:t>«</a:t>
            </a:r>
            <a:r>
              <a:rPr lang="ru-RU" sz="900" dirty="0" err="1" smtClean="0">
                <a:ea typeface="Times New Roman" panose="02020603050405020304" pitchFamily="18" charset="0"/>
              </a:rPr>
              <a:t>Качары</a:t>
            </a:r>
            <a:r>
              <a:rPr lang="ru-RU" sz="900" dirty="0" smtClean="0">
                <a:ea typeface="Times New Roman" panose="02020603050405020304" pitchFamily="18" charset="0"/>
              </a:rPr>
              <a:t> руда» </a:t>
            </a:r>
            <a:r>
              <a:rPr lang="ru-RU" sz="900" dirty="0">
                <a:ea typeface="Times New Roman" panose="02020603050405020304" pitchFamily="18" charset="0"/>
              </a:rPr>
              <a:t>и ТОО «РТС») и принятых договорных взаимных обязательств. Количество произведенной и отпущенной тепловой энергии определяется по показаниям приборов коммерческого учета</a:t>
            </a:r>
            <a:r>
              <a:rPr lang="ru-RU" sz="900" dirty="0" smtClean="0">
                <a:ea typeface="Times New Roman" panose="02020603050405020304" pitchFamily="18" charset="0"/>
              </a:rPr>
              <a:t>.</a:t>
            </a:r>
            <a:endParaRPr lang="ru-RU" sz="900" dirty="0"/>
          </a:p>
        </p:txBody>
      </p:sp>
      <p:grpSp>
        <p:nvGrpSpPr>
          <p:cNvPr id="117" name="Group 488"/>
          <p:cNvGrpSpPr/>
          <p:nvPr/>
        </p:nvGrpSpPr>
        <p:grpSpPr>
          <a:xfrm>
            <a:off x="6183529" y="4956175"/>
            <a:ext cx="371475" cy="328613"/>
            <a:chOff x="-2103438" y="3878264"/>
            <a:chExt cx="371475" cy="371475"/>
          </a:xfrm>
        </p:grpSpPr>
        <p:sp>
          <p:nvSpPr>
            <p:cNvPr id="118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5638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ifcGQW9EykCBpFVlYYL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8kx0oBkFyY4mm_4Wl7Q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ToYQIXGIobRMPAlZ_e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RlhWQQBkbCbp2wE7OS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EcnImgNQlI91W_P27w.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.R4ZzTY6X5BW3ZhJSP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k84ZiCtoCvcetplB13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6ktlHffBx_CKHn9Eam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4ry0HoZrCtzh0meH9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V7PYFAPpnOtMBelAnJn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68A9tUb0RfAlucpQ_t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1mHBxo4oqSZ1TDsZM59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6In1lhGjL8WePx7TDG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chu3jCPOFEdaIsrxVj8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OPi9utlK99nESZLfWd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1PKeqr.FV0AaCrRFZj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efot0.3nZaLk8L.vK8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zp1SB3BpwhB1wLKJyw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Ja2VtF3sLgboZyfRCZ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kIW54hOIhIUvm22Qay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NYRvB.IFXxWL52p3wiZ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L9VxJHVm32SFmYwWjJn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qb2aB3jhpPiBjtmUND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fX.7Q5HGrdQSrmF0Jj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SDnxITDupO8za5A1Me6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kMIRAzytQkso8oqJt1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bioJhunBOzGScjAnT7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Gy73CSfHc0NFd_ep9Yv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3iBGGBFLsNXoOUWzT9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eg_H54KCdpB0MPx1XO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CMDeSvUTIQaiCtXzuSo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3_ZHC7K_ZBhzz_Te3FC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me7.QmYty.8gTu_1KY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1aLEwNiAc8a0sp017gI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vsq7qKzlmFZkk_Ewxn_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ToYQIXGIobRMPAlZ_eA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VbKP3nMMn8MdHtGOso8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Ir57MgpGTPy3UBfQsul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ozX7Db0aDRkh97t5AlY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IKCLiazkJjrt_CehGFg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tc.U3IlsYbQXAIXj1C9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.z3GG1TBvJWIDg0Lx3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yQuLNsmC_0bD9571_2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LlS4r_rvvmPucfZc9Nc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lhGc4RGspAlDtiZ1XAC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IBJEakvyd3agM5vpkX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vhwDYTKTQ8r0R7hNrQ.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RpwAxi8ehQR1rQ.V_pQ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kjEOtiQnJg5tCjyTSMK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TBGkoUQe9jit.36wuY0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bXcvelaaIdc8xalDGF3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RmmfFd__llPwkSjgp9BQ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DF3B93DC-082C-4AC1-8475-3734DF0141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6428FF1-E99D-4EF7-A766-214CFC74A516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59FDFC5-1C9A-462A-8FAB-67717836E01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05551B4-AD16-4790-82A0-136B53B46222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BBE9259E-8913-4708-9914-EFCBA75FBF0B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788</TotalTime>
  <Words>2636</Words>
  <Application>Microsoft Office PowerPoint</Application>
  <PresentationFormat>Широкоэкранный</PresentationFormat>
  <Paragraphs>703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3" baseType="lpstr">
      <vt:lpstr>Arial</vt:lpstr>
      <vt:lpstr>Arial (Основной текст)</vt:lpstr>
      <vt:lpstr>Calibri</vt:lpstr>
      <vt:lpstr>Montserrat</vt:lpstr>
      <vt:lpstr>Open Sans</vt:lpstr>
      <vt:lpstr>Times New Roman</vt:lpstr>
      <vt:lpstr>Verdana</vt:lpstr>
      <vt:lpstr>Wingdings</vt:lpstr>
      <vt:lpstr>ERG</vt:lpstr>
      <vt:lpstr>Слайд think-cell</vt:lpstr>
      <vt:lpstr>Презентация PowerPoint</vt:lpstr>
      <vt:lpstr>Общие сведения </vt:lpstr>
      <vt:lpstr>Информация об исполнении инвестиционной программы</vt:lpstr>
      <vt:lpstr>Информация об исполнении утвержденной инвестиционной программы  по итогам 2025 года (1/2)</vt:lpstr>
      <vt:lpstr>Информация об исполнении утвержденной инвестиционной программы  по итогам 2025  года (2/2)</vt:lpstr>
      <vt:lpstr>Инвестиционная программа на услуги по производству тепловой энергии АО «Качары руда» на 2023 - 2027 годы</vt:lpstr>
      <vt:lpstr>Информация о постатейном исполнении утвержденной тарифной сметы на услугу по производству тепловой энергии п. Качар по итогам 2025 года</vt:lpstr>
      <vt:lpstr>Информация о соблюдении показателей качества и надежности регулируемых услуг и достижении показателей эффективности деятельности по итогам 2025 года</vt:lpstr>
      <vt:lpstr>Информация об основных финансово-экономических показателях регулируемой деятельности по итогам 2025 годам об объемах предоставленных регулируемых услуг</vt:lpstr>
      <vt:lpstr>Информация о проводимой работе с потребителями регулируемых услуг</vt:lpstr>
      <vt:lpstr>Перспективы деятельности (планы развития), в том числе возможных изменениях тарифов в сфере регулируемых услуг </vt:lpstr>
      <vt:lpstr>Информация о качестве предоставляемых регулируемых услуг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Irina Dogadina</cp:lastModifiedBy>
  <cp:revision>1479</cp:revision>
  <dcterms:created xsi:type="dcterms:W3CDTF">2017-11-25T12:09:27Z</dcterms:created>
  <dcterms:modified xsi:type="dcterms:W3CDTF">2026-04-13T10:4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